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1.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9.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0.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3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3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Lst>
  <p:notesMasterIdLst>
    <p:notesMasterId r:id="rId42"/>
  </p:notesMasterIdLst>
  <p:sldIdLst>
    <p:sldId id="270" r:id="rId6"/>
    <p:sldId id="321" r:id="rId7"/>
    <p:sldId id="284" r:id="rId8"/>
    <p:sldId id="605" r:id="rId9"/>
    <p:sldId id="635" r:id="rId10"/>
    <p:sldId id="626" r:id="rId11"/>
    <p:sldId id="736" r:id="rId12"/>
    <p:sldId id="1736" r:id="rId13"/>
    <p:sldId id="1737" r:id="rId14"/>
    <p:sldId id="1738" r:id="rId15"/>
    <p:sldId id="630" r:id="rId16"/>
    <p:sldId id="399" r:id="rId17"/>
    <p:sldId id="400" r:id="rId18"/>
    <p:sldId id="401" r:id="rId19"/>
    <p:sldId id="1743" r:id="rId20"/>
    <p:sldId id="606" r:id="rId21"/>
    <p:sldId id="410" r:id="rId22"/>
    <p:sldId id="300" r:id="rId23"/>
    <p:sldId id="349" r:id="rId24"/>
    <p:sldId id="318" r:id="rId25"/>
    <p:sldId id="467" r:id="rId26"/>
    <p:sldId id="704" r:id="rId27"/>
    <p:sldId id="614" r:id="rId28"/>
    <p:sldId id="729" r:id="rId29"/>
    <p:sldId id="285" r:id="rId30"/>
    <p:sldId id="733" r:id="rId31"/>
    <p:sldId id="1744" r:id="rId32"/>
    <p:sldId id="634" r:id="rId33"/>
    <p:sldId id="301" r:id="rId34"/>
    <p:sldId id="604" r:id="rId35"/>
    <p:sldId id="502" r:id="rId36"/>
    <p:sldId id="584" r:id="rId37"/>
    <p:sldId id="730" r:id="rId38"/>
    <p:sldId id="1741" r:id="rId39"/>
    <p:sldId id="615" r:id="rId40"/>
    <p:sldId id="629"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676614-D5FD-ACB7-152B-D78D328C117D}" name="Winstead, Christina (WSAC)" initials="WC(" userId="S::ChristinaW@wsac.wa.gov::9bc475b0-4b84-4753-a1a9-2b7187fd9332" providerId="AD"/>
  <p188:author id="{C191B4EC-3F2A-4216-8C87-1F3A09E936C1}" name="Torres-Peña, Yaslin (WSAC)" initials="TPY(" userId="S::YaslinTP@wsac.wa.gov::2ec31451-dbcf-4b17-ab25-d4bdd0f83b4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D5DD20-D379-4BB7-9F23-635739D425B4}" v="436" dt="2023-08-29T18:26:13.4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12" autoAdjust="0"/>
    <p:restoredTop sz="70098" autoAdjust="0"/>
  </p:normalViewPr>
  <p:slideViewPr>
    <p:cSldViewPr snapToGrid="0">
      <p:cViewPr varScale="1">
        <p:scale>
          <a:sx n="59" d="100"/>
          <a:sy n="59" d="100"/>
        </p:scale>
        <p:origin x="84" y="4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s>
</file>

<file path=ppt/diagrams/_rels/data10.xml.rels><?xml version="1.0" encoding="UTF-8" standalone="yes"?>
<Relationships xmlns="http://schemas.openxmlformats.org/package/2006/relationships"><Relationship Id="rId1" Type="http://schemas.openxmlformats.org/officeDocument/2006/relationships/image" Target="../media/image20.jpeg"/></Relationships>
</file>

<file path=ppt/diagrams/_rels/data1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image" Target="../media/image24.png"/></Relationships>
</file>

<file path=ppt/diagrams/_rels/data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image" Target="../media/image26.png"/></Relationships>
</file>

<file path=ppt/diagrams/_rels/data20.xml.rels><?xml version="1.0" encoding="UTF-8" standalone="yes"?>
<Relationships xmlns="http://schemas.openxmlformats.org/package/2006/relationships"><Relationship Id="rId2" Type="http://schemas.openxmlformats.org/officeDocument/2006/relationships/hyperlink" Target="https://fsaid.ed.gov/npas/index.htm" TargetMode="External"/><Relationship Id="rId1" Type="http://schemas.openxmlformats.org/officeDocument/2006/relationships/hyperlink" Target="https://readysetgrad.wa.gov/WASFAelig" TargetMode="External"/></Relationships>
</file>

<file path=ppt/diagrams/_rels/data23.xml.rels><?xml version="1.0" encoding="UTF-8" standalone="yes"?>
<Relationships xmlns="http://schemas.openxmlformats.org/package/2006/relationships"><Relationship Id="rId3" Type="http://schemas.openxmlformats.org/officeDocument/2006/relationships/image" Target="../media/image44.wmf"/><Relationship Id="rId2" Type="http://schemas.openxmlformats.org/officeDocument/2006/relationships/image" Target="../media/image43.wmf"/><Relationship Id="rId1" Type="http://schemas.openxmlformats.org/officeDocument/2006/relationships/image" Target="../media/image42.wmf"/></Relationships>
</file>

<file path=ppt/diagrams/_rels/drawing10.xml.rels><?xml version="1.0" encoding="UTF-8" standalone="yes"?>
<Relationships xmlns="http://schemas.openxmlformats.org/package/2006/relationships"><Relationship Id="rId1" Type="http://schemas.openxmlformats.org/officeDocument/2006/relationships/image" Target="../media/image20.jpeg"/></Relationships>
</file>

<file path=ppt/diagrams/_rels/drawing1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image" Target="../media/image24.png"/></Relationships>
</file>

<file path=ppt/diagrams/_rels/drawing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image" Target="../media/image26.png"/></Relationships>
</file>

<file path=ppt/diagrams/_rels/drawing20.xml.rels><?xml version="1.0" encoding="UTF-8" standalone="yes"?>
<Relationships xmlns="http://schemas.openxmlformats.org/package/2006/relationships"><Relationship Id="rId2" Type="http://schemas.openxmlformats.org/officeDocument/2006/relationships/hyperlink" Target="https://fsaid.ed.gov/npas/index.htm" TargetMode="External"/><Relationship Id="rId1" Type="http://schemas.openxmlformats.org/officeDocument/2006/relationships/hyperlink" Target="https://readysetgrad.wa.gov/WASFAelig" TargetMode="External"/></Relationships>
</file>

<file path=ppt/diagrams/_rels/drawing23.xml.rels><?xml version="1.0" encoding="UTF-8" standalone="yes"?>
<Relationships xmlns="http://schemas.openxmlformats.org/package/2006/relationships"><Relationship Id="rId3" Type="http://schemas.openxmlformats.org/officeDocument/2006/relationships/image" Target="../media/image44.wmf"/><Relationship Id="rId2" Type="http://schemas.openxmlformats.org/officeDocument/2006/relationships/image" Target="../media/image43.wmf"/><Relationship Id="rId1" Type="http://schemas.openxmlformats.org/officeDocument/2006/relationships/image" Target="../media/image42.wmf"/></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533E19-5A2A-4125-93A1-598AA7C7FAE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7E66EF16-440A-4AD6-939E-279E57D44727}">
      <dgm:prSet phldrT="[Text]" custT="1"/>
      <dgm:spPr/>
      <dgm:t>
        <a:bodyPr/>
        <a:lstStyle/>
        <a:p>
          <a:r>
            <a:rPr lang="en-US" sz="3600" dirty="0">
              <a:latin typeface="+mj-lt"/>
            </a:rPr>
            <a:t>Types of Financial Aid </a:t>
          </a:r>
        </a:p>
      </dgm:t>
    </dgm:pt>
    <dgm:pt modelId="{13BAF559-977D-4108-852E-65CB16D93F1B}" type="sibTrans" cxnId="{CD657E6D-9602-4168-8EA2-8CE897F4F207}">
      <dgm:prSet/>
      <dgm:spPr/>
      <dgm:t>
        <a:bodyPr/>
        <a:lstStyle/>
        <a:p>
          <a:endParaRPr lang="en-US">
            <a:latin typeface="+mj-lt"/>
          </a:endParaRPr>
        </a:p>
      </dgm:t>
    </dgm:pt>
    <dgm:pt modelId="{99141D27-BE25-45C5-BCAE-1B188C2133F5}" type="parTrans" cxnId="{CD657E6D-9602-4168-8EA2-8CE897F4F207}">
      <dgm:prSet/>
      <dgm:spPr/>
      <dgm:t>
        <a:bodyPr/>
        <a:lstStyle/>
        <a:p>
          <a:endParaRPr lang="en-US">
            <a:latin typeface="+mj-lt"/>
          </a:endParaRPr>
        </a:p>
      </dgm:t>
    </dgm:pt>
    <dgm:pt modelId="{9F544B7E-BB6F-42F0-8CD6-37A9B4D62F88}">
      <dgm:prSet phldrT="[Text]" custT="1"/>
      <dgm:spPr/>
      <dgm:t>
        <a:bodyPr/>
        <a:lstStyle/>
        <a:p>
          <a:r>
            <a:rPr lang="en-US" sz="3600" dirty="0">
              <a:latin typeface="+mj-lt"/>
            </a:rPr>
            <a:t>When You Should Apply for Financial Aid</a:t>
          </a:r>
        </a:p>
      </dgm:t>
    </dgm:pt>
    <dgm:pt modelId="{D891EB5F-B373-4AF6-9FEF-DEC9E94C1EDF}" type="parTrans" cxnId="{D844531B-6669-438A-A953-7E3F8275FF4A}">
      <dgm:prSet/>
      <dgm:spPr/>
      <dgm:t>
        <a:bodyPr/>
        <a:lstStyle/>
        <a:p>
          <a:endParaRPr lang="en-US"/>
        </a:p>
      </dgm:t>
    </dgm:pt>
    <dgm:pt modelId="{093E1C3F-086F-4777-9009-A7992C4300DD}" type="sibTrans" cxnId="{D844531B-6669-438A-A953-7E3F8275FF4A}">
      <dgm:prSet/>
      <dgm:spPr/>
      <dgm:t>
        <a:bodyPr/>
        <a:lstStyle/>
        <a:p>
          <a:endParaRPr lang="en-US"/>
        </a:p>
      </dgm:t>
    </dgm:pt>
    <dgm:pt modelId="{64C5303A-1CA3-4A69-ADCE-98CE313735BD}">
      <dgm:prSet phldrT="[Text]" custT="1"/>
      <dgm:spPr/>
      <dgm:t>
        <a:bodyPr/>
        <a:lstStyle/>
        <a:p>
          <a:r>
            <a:rPr lang="en-US" sz="3600" dirty="0">
              <a:latin typeface="+mj-lt"/>
            </a:rPr>
            <a:t>Scholarships</a:t>
          </a:r>
        </a:p>
      </dgm:t>
    </dgm:pt>
    <dgm:pt modelId="{E6B608A5-44E1-4D9D-8C8D-6A79BD755003}" type="parTrans" cxnId="{94D38394-049E-4553-98A6-B76AF7CD5D83}">
      <dgm:prSet/>
      <dgm:spPr/>
      <dgm:t>
        <a:bodyPr/>
        <a:lstStyle/>
        <a:p>
          <a:endParaRPr lang="en-US"/>
        </a:p>
      </dgm:t>
    </dgm:pt>
    <dgm:pt modelId="{B363344B-3402-452A-8900-45AE6CE8EB69}" type="sibTrans" cxnId="{94D38394-049E-4553-98A6-B76AF7CD5D83}">
      <dgm:prSet/>
      <dgm:spPr/>
      <dgm:t>
        <a:bodyPr/>
        <a:lstStyle/>
        <a:p>
          <a:endParaRPr lang="en-US"/>
        </a:p>
      </dgm:t>
    </dgm:pt>
    <dgm:pt modelId="{C5D9902A-7ED5-4154-8531-7894B0EABEA0}">
      <dgm:prSet phldrT="[Text]" custT="1"/>
      <dgm:spPr/>
      <dgm:t>
        <a:bodyPr/>
        <a:lstStyle/>
        <a:p>
          <a:r>
            <a:rPr lang="en-US" sz="3600" dirty="0">
              <a:latin typeface="+mj-lt"/>
            </a:rPr>
            <a:t>What is Financial Aid</a:t>
          </a:r>
        </a:p>
      </dgm:t>
    </dgm:pt>
    <dgm:pt modelId="{1E01E3B9-0CE1-4E84-9F62-A803D707BCA8}" type="parTrans" cxnId="{D0B1A852-554A-48B2-A3FA-BC555C488381}">
      <dgm:prSet/>
      <dgm:spPr/>
      <dgm:t>
        <a:bodyPr/>
        <a:lstStyle/>
        <a:p>
          <a:endParaRPr lang="en-US"/>
        </a:p>
      </dgm:t>
    </dgm:pt>
    <dgm:pt modelId="{02453732-B8B6-4813-AA6E-560739F915E1}" type="sibTrans" cxnId="{D0B1A852-554A-48B2-A3FA-BC555C488381}">
      <dgm:prSet/>
      <dgm:spPr/>
      <dgm:t>
        <a:bodyPr/>
        <a:lstStyle/>
        <a:p>
          <a:endParaRPr lang="en-US"/>
        </a:p>
      </dgm:t>
    </dgm:pt>
    <dgm:pt modelId="{FB086AB9-6FE8-42F2-89E8-A75A46345033}">
      <dgm:prSet phldrT="[Text]" custT="1"/>
      <dgm:spPr/>
      <dgm:t>
        <a:bodyPr/>
        <a:lstStyle/>
        <a:p>
          <a:r>
            <a:rPr lang="en-US" sz="3600" dirty="0">
              <a:latin typeface="+mj-lt"/>
            </a:rPr>
            <a:t>How to Apply for Financial Aid</a:t>
          </a:r>
        </a:p>
      </dgm:t>
    </dgm:pt>
    <dgm:pt modelId="{582B97E9-8735-4343-8FCB-70F73FE202EB}" type="parTrans" cxnId="{993FC79E-090D-44CA-B469-42C531944630}">
      <dgm:prSet/>
      <dgm:spPr/>
      <dgm:t>
        <a:bodyPr/>
        <a:lstStyle/>
        <a:p>
          <a:endParaRPr lang="en-US"/>
        </a:p>
      </dgm:t>
    </dgm:pt>
    <dgm:pt modelId="{265F4DA0-5017-422E-AB08-B7D828A3062A}" type="sibTrans" cxnId="{993FC79E-090D-44CA-B469-42C531944630}">
      <dgm:prSet/>
      <dgm:spPr/>
      <dgm:t>
        <a:bodyPr/>
        <a:lstStyle/>
        <a:p>
          <a:endParaRPr lang="en-US"/>
        </a:p>
      </dgm:t>
    </dgm:pt>
    <dgm:pt modelId="{C78D1109-837B-4600-94E9-394E00C1B30D}">
      <dgm:prSet phldrT="[Text]" custT="1"/>
      <dgm:spPr/>
      <dgm:t>
        <a:bodyPr/>
        <a:lstStyle/>
        <a:p>
          <a:r>
            <a:rPr lang="en-US" sz="3600" dirty="0">
              <a:latin typeface="+mj-lt"/>
            </a:rPr>
            <a:t>Help and Resources</a:t>
          </a:r>
        </a:p>
      </dgm:t>
    </dgm:pt>
    <dgm:pt modelId="{2F2C744B-9A9F-493A-9C99-0FA9B4D28752}" type="parTrans" cxnId="{0CFB4E87-C1F1-444C-A3DB-FECF6F10B382}">
      <dgm:prSet/>
      <dgm:spPr/>
      <dgm:t>
        <a:bodyPr/>
        <a:lstStyle/>
        <a:p>
          <a:endParaRPr lang="en-US"/>
        </a:p>
      </dgm:t>
    </dgm:pt>
    <dgm:pt modelId="{BFE0056F-491A-44D3-BE1A-2FB96C753B6C}" type="sibTrans" cxnId="{0CFB4E87-C1F1-444C-A3DB-FECF6F10B382}">
      <dgm:prSet/>
      <dgm:spPr/>
      <dgm:t>
        <a:bodyPr/>
        <a:lstStyle/>
        <a:p>
          <a:endParaRPr lang="en-US"/>
        </a:p>
      </dgm:t>
    </dgm:pt>
    <dgm:pt modelId="{EB42F8E6-F60F-40B0-B2B2-A3D2A5ABD5AD}" type="pres">
      <dgm:prSet presAssocID="{17533E19-5A2A-4125-93A1-598AA7C7FAE3}" presName="linear" presStyleCnt="0">
        <dgm:presLayoutVars>
          <dgm:dir/>
          <dgm:animLvl val="lvl"/>
          <dgm:resizeHandles val="exact"/>
        </dgm:presLayoutVars>
      </dgm:prSet>
      <dgm:spPr/>
    </dgm:pt>
    <dgm:pt modelId="{276A1E23-5945-49A8-B205-990D43FB6980}" type="pres">
      <dgm:prSet presAssocID="{C5D9902A-7ED5-4154-8531-7894B0EABEA0}" presName="parentLin" presStyleCnt="0"/>
      <dgm:spPr/>
    </dgm:pt>
    <dgm:pt modelId="{12043BBD-C355-46D4-BD23-AA2329B6C502}" type="pres">
      <dgm:prSet presAssocID="{C5D9902A-7ED5-4154-8531-7894B0EABEA0}" presName="parentLeftMargin" presStyleLbl="node1" presStyleIdx="0" presStyleCnt="6"/>
      <dgm:spPr/>
    </dgm:pt>
    <dgm:pt modelId="{D76C5EB5-E1AF-41B2-859B-EEED895DEA30}" type="pres">
      <dgm:prSet presAssocID="{C5D9902A-7ED5-4154-8531-7894B0EABEA0}" presName="parentText" presStyleLbl="node1" presStyleIdx="0" presStyleCnt="6" custScaleX="142857" custScaleY="117521">
        <dgm:presLayoutVars>
          <dgm:chMax val="0"/>
          <dgm:bulletEnabled val="1"/>
        </dgm:presLayoutVars>
      </dgm:prSet>
      <dgm:spPr/>
    </dgm:pt>
    <dgm:pt modelId="{BB6D1C18-120A-4808-97ED-E19578356283}" type="pres">
      <dgm:prSet presAssocID="{C5D9902A-7ED5-4154-8531-7894B0EABEA0}" presName="negativeSpace" presStyleCnt="0"/>
      <dgm:spPr/>
    </dgm:pt>
    <dgm:pt modelId="{4F222192-D453-4B4A-843F-4A72AC6E16A2}" type="pres">
      <dgm:prSet presAssocID="{C5D9902A-7ED5-4154-8531-7894B0EABEA0}" presName="childText" presStyleLbl="conFgAcc1" presStyleIdx="0" presStyleCnt="6">
        <dgm:presLayoutVars>
          <dgm:bulletEnabled val="1"/>
        </dgm:presLayoutVars>
      </dgm:prSet>
      <dgm:spPr/>
    </dgm:pt>
    <dgm:pt modelId="{0FC6646E-8C97-4DB0-AD69-CD3768AE9DFB}" type="pres">
      <dgm:prSet presAssocID="{02453732-B8B6-4813-AA6E-560739F915E1}" presName="spaceBetweenRectangles" presStyleCnt="0"/>
      <dgm:spPr/>
    </dgm:pt>
    <dgm:pt modelId="{879F8B72-49F8-4D11-A0FD-74C75CCC3A3D}" type="pres">
      <dgm:prSet presAssocID="{7E66EF16-440A-4AD6-939E-279E57D44727}" presName="parentLin" presStyleCnt="0"/>
      <dgm:spPr/>
    </dgm:pt>
    <dgm:pt modelId="{8CBFFD35-0CCD-4100-8890-7FA211238E47}" type="pres">
      <dgm:prSet presAssocID="{7E66EF16-440A-4AD6-939E-279E57D44727}" presName="parentLeftMargin" presStyleLbl="node1" presStyleIdx="0" presStyleCnt="6"/>
      <dgm:spPr/>
    </dgm:pt>
    <dgm:pt modelId="{856B228F-A259-403F-BDF6-CAD983D1A0E2}" type="pres">
      <dgm:prSet presAssocID="{7E66EF16-440A-4AD6-939E-279E57D44727}" presName="parentText" presStyleLbl="node1" presStyleIdx="1" presStyleCnt="6" custScaleX="142857" custLinFactNeighborX="-4646" custLinFactNeighborY="-3434">
        <dgm:presLayoutVars>
          <dgm:chMax val="0"/>
          <dgm:bulletEnabled val="1"/>
        </dgm:presLayoutVars>
      </dgm:prSet>
      <dgm:spPr/>
    </dgm:pt>
    <dgm:pt modelId="{166D6AAF-29D3-47D9-A696-C23671227B0A}" type="pres">
      <dgm:prSet presAssocID="{7E66EF16-440A-4AD6-939E-279E57D44727}" presName="negativeSpace" presStyleCnt="0"/>
      <dgm:spPr/>
    </dgm:pt>
    <dgm:pt modelId="{BA767C3B-ED79-4A13-B381-6959C8060EA9}" type="pres">
      <dgm:prSet presAssocID="{7E66EF16-440A-4AD6-939E-279E57D44727}" presName="childText" presStyleLbl="conFgAcc1" presStyleIdx="1" presStyleCnt="6">
        <dgm:presLayoutVars>
          <dgm:bulletEnabled val="1"/>
        </dgm:presLayoutVars>
      </dgm:prSet>
      <dgm:spPr/>
    </dgm:pt>
    <dgm:pt modelId="{005382D2-141F-430A-BCBD-FB0E0DB57CD4}" type="pres">
      <dgm:prSet presAssocID="{13BAF559-977D-4108-852E-65CB16D93F1B}" presName="spaceBetweenRectangles" presStyleCnt="0"/>
      <dgm:spPr/>
    </dgm:pt>
    <dgm:pt modelId="{F2C78933-1051-4B73-A93F-CEF01DE9A5DB}" type="pres">
      <dgm:prSet presAssocID="{9F544B7E-BB6F-42F0-8CD6-37A9B4D62F88}" presName="parentLin" presStyleCnt="0"/>
      <dgm:spPr/>
    </dgm:pt>
    <dgm:pt modelId="{4ACD8D13-B668-4D40-954D-8E8F9AD5CE64}" type="pres">
      <dgm:prSet presAssocID="{9F544B7E-BB6F-42F0-8CD6-37A9B4D62F88}" presName="parentLeftMargin" presStyleLbl="node1" presStyleIdx="1" presStyleCnt="6"/>
      <dgm:spPr/>
    </dgm:pt>
    <dgm:pt modelId="{3CD455F3-8D55-4B90-9AE0-9D7BAA7022B6}" type="pres">
      <dgm:prSet presAssocID="{9F544B7E-BB6F-42F0-8CD6-37A9B4D62F88}" presName="parentText" presStyleLbl="node1" presStyleIdx="2" presStyleCnt="6" custScaleX="142857">
        <dgm:presLayoutVars>
          <dgm:chMax val="0"/>
          <dgm:bulletEnabled val="1"/>
        </dgm:presLayoutVars>
      </dgm:prSet>
      <dgm:spPr/>
    </dgm:pt>
    <dgm:pt modelId="{9708B6B6-5507-4F35-8F48-E80025428A7E}" type="pres">
      <dgm:prSet presAssocID="{9F544B7E-BB6F-42F0-8CD6-37A9B4D62F88}" presName="negativeSpace" presStyleCnt="0"/>
      <dgm:spPr/>
    </dgm:pt>
    <dgm:pt modelId="{B6B79D58-ACC4-43B5-B7D4-CB5B36EF88AD}" type="pres">
      <dgm:prSet presAssocID="{9F544B7E-BB6F-42F0-8CD6-37A9B4D62F88}" presName="childText" presStyleLbl="conFgAcc1" presStyleIdx="2" presStyleCnt="6">
        <dgm:presLayoutVars>
          <dgm:bulletEnabled val="1"/>
        </dgm:presLayoutVars>
      </dgm:prSet>
      <dgm:spPr/>
    </dgm:pt>
    <dgm:pt modelId="{7C1E5307-EAF9-4E1A-B3B9-F87CA66381CD}" type="pres">
      <dgm:prSet presAssocID="{093E1C3F-086F-4777-9009-A7992C4300DD}" presName="spaceBetweenRectangles" presStyleCnt="0"/>
      <dgm:spPr/>
    </dgm:pt>
    <dgm:pt modelId="{75E6ACD6-EEEA-4AB7-BFC2-C095DDD69A57}" type="pres">
      <dgm:prSet presAssocID="{FB086AB9-6FE8-42F2-89E8-A75A46345033}" presName="parentLin" presStyleCnt="0"/>
      <dgm:spPr/>
    </dgm:pt>
    <dgm:pt modelId="{612D9C34-24FE-4958-8A27-EE890142D424}" type="pres">
      <dgm:prSet presAssocID="{FB086AB9-6FE8-42F2-89E8-A75A46345033}" presName="parentLeftMargin" presStyleLbl="node1" presStyleIdx="2" presStyleCnt="6"/>
      <dgm:spPr/>
    </dgm:pt>
    <dgm:pt modelId="{179FDEF8-D7CD-427A-B285-EE879B8EA4D2}" type="pres">
      <dgm:prSet presAssocID="{FB086AB9-6FE8-42F2-89E8-A75A46345033}" presName="parentText" presStyleLbl="node1" presStyleIdx="3" presStyleCnt="6" custScaleX="142857" custScaleY="120481">
        <dgm:presLayoutVars>
          <dgm:chMax val="0"/>
          <dgm:bulletEnabled val="1"/>
        </dgm:presLayoutVars>
      </dgm:prSet>
      <dgm:spPr/>
    </dgm:pt>
    <dgm:pt modelId="{709135BA-071B-49E0-B694-5AD77BEB9D03}" type="pres">
      <dgm:prSet presAssocID="{FB086AB9-6FE8-42F2-89E8-A75A46345033}" presName="negativeSpace" presStyleCnt="0"/>
      <dgm:spPr/>
    </dgm:pt>
    <dgm:pt modelId="{FC0D32A5-9D58-490E-A8D1-BE503E2D5B18}" type="pres">
      <dgm:prSet presAssocID="{FB086AB9-6FE8-42F2-89E8-A75A46345033}" presName="childText" presStyleLbl="conFgAcc1" presStyleIdx="3" presStyleCnt="6">
        <dgm:presLayoutVars>
          <dgm:bulletEnabled val="1"/>
        </dgm:presLayoutVars>
      </dgm:prSet>
      <dgm:spPr/>
    </dgm:pt>
    <dgm:pt modelId="{D6BAC78F-E18E-45E0-B565-19F21C322375}" type="pres">
      <dgm:prSet presAssocID="{265F4DA0-5017-422E-AB08-B7D828A3062A}" presName="spaceBetweenRectangles" presStyleCnt="0"/>
      <dgm:spPr/>
    </dgm:pt>
    <dgm:pt modelId="{D0B04DB3-AC6E-4F2D-85AC-892F8153A999}" type="pres">
      <dgm:prSet presAssocID="{64C5303A-1CA3-4A69-ADCE-98CE313735BD}" presName="parentLin" presStyleCnt="0"/>
      <dgm:spPr/>
    </dgm:pt>
    <dgm:pt modelId="{7373C091-728A-47D1-9EEB-C76590FA7FED}" type="pres">
      <dgm:prSet presAssocID="{64C5303A-1CA3-4A69-ADCE-98CE313735BD}" presName="parentLeftMargin" presStyleLbl="node1" presStyleIdx="3" presStyleCnt="6"/>
      <dgm:spPr/>
    </dgm:pt>
    <dgm:pt modelId="{165D3DDC-7096-4D3E-B5C0-86E4F1E8709D}" type="pres">
      <dgm:prSet presAssocID="{64C5303A-1CA3-4A69-ADCE-98CE313735BD}" presName="parentText" presStyleLbl="node1" presStyleIdx="4" presStyleCnt="6" custScaleX="142857">
        <dgm:presLayoutVars>
          <dgm:chMax val="0"/>
          <dgm:bulletEnabled val="1"/>
        </dgm:presLayoutVars>
      </dgm:prSet>
      <dgm:spPr/>
    </dgm:pt>
    <dgm:pt modelId="{82BB24F6-EB3C-49ED-8F57-EF5C9198329D}" type="pres">
      <dgm:prSet presAssocID="{64C5303A-1CA3-4A69-ADCE-98CE313735BD}" presName="negativeSpace" presStyleCnt="0"/>
      <dgm:spPr/>
    </dgm:pt>
    <dgm:pt modelId="{9103310C-A17C-4A08-8DB7-1B66388FB090}" type="pres">
      <dgm:prSet presAssocID="{64C5303A-1CA3-4A69-ADCE-98CE313735BD}" presName="childText" presStyleLbl="conFgAcc1" presStyleIdx="4" presStyleCnt="6">
        <dgm:presLayoutVars>
          <dgm:bulletEnabled val="1"/>
        </dgm:presLayoutVars>
      </dgm:prSet>
      <dgm:spPr/>
    </dgm:pt>
    <dgm:pt modelId="{399911B5-91B3-4193-B6BB-238A91B4BE11}" type="pres">
      <dgm:prSet presAssocID="{B363344B-3402-452A-8900-45AE6CE8EB69}" presName="spaceBetweenRectangles" presStyleCnt="0"/>
      <dgm:spPr/>
    </dgm:pt>
    <dgm:pt modelId="{F0C942CD-BA3A-48D3-AAFA-8D60673262DE}" type="pres">
      <dgm:prSet presAssocID="{C78D1109-837B-4600-94E9-394E00C1B30D}" presName="parentLin" presStyleCnt="0"/>
      <dgm:spPr/>
    </dgm:pt>
    <dgm:pt modelId="{0DFDE8BC-190E-4DAA-84FA-E0475FA69720}" type="pres">
      <dgm:prSet presAssocID="{C78D1109-837B-4600-94E9-394E00C1B30D}" presName="parentLeftMargin" presStyleLbl="node1" presStyleIdx="4" presStyleCnt="6"/>
      <dgm:spPr/>
    </dgm:pt>
    <dgm:pt modelId="{2EF9DEFC-BC34-421A-9E55-C5F4E20E7F0D}" type="pres">
      <dgm:prSet presAssocID="{C78D1109-837B-4600-94E9-394E00C1B30D}" presName="parentText" presStyleLbl="node1" presStyleIdx="5" presStyleCnt="6" custScaleX="142857">
        <dgm:presLayoutVars>
          <dgm:chMax val="0"/>
          <dgm:bulletEnabled val="1"/>
        </dgm:presLayoutVars>
      </dgm:prSet>
      <dgm:spPr/>
    </dgm:pt>
    <dgm:pt modelId="{D33F6523-C4AB-481F-A804-CECE75FE202E}" type="pres">
      <dgm:prSet presAssocID="{C78D1109-837B-4600-94E9-394E00C1B30D}" presName="negativeSpace" presStyleCnt="0"/>
      <dgm:spPr/>
    </dgm:pt>
    <dgm:pt modelId="{5BF31192-ADF6-4C7F-8BE7-8C39CE49B8CC}" type="pres">
      <dgm:prSet presAssocID="{C78D1109-837B-4600-94E9-394E00C1B30D}" presName="childText" presStyleLbl="conFgAcc1" presStyleIdx="5" presStyleCnt="6">
        <dgm:presLayoutVars>
          <dgm:bulletEnabled val="1"/>
        </dgm:presLayoutVars>
      </dgm:prSet>
      <dgm:spPr/>
    </dgm:pt>
  </dgm:ptLst>
  <dgm:cxnLst>
    <dgm:cxn modelId="{FF13A708-553C-40F0-9EA8-16ACF2DD0DE6}" type="presOf" srcId="{7E66EF16-440A-4AD6-939E-279E57D44727}" destId="{8CBFFD35-0CCD-4100-8890-7FA211238E47}" srcOrd="0" destOrd="0" presId="urn:microsoft.com/office/officeart/2005/8/layout/list1"/>
    <dgm:cxn modelId="{12B9800E-A832-44D2-988F-3D7217B0879D}" type="presOf" srcId="{FB086AB9-6FE8-42F2-89E8-A75A46345033}" destId="{179FDEF8-D7CD-427A-B285-EE879B8EA4D2}" srcOrd="1" destOrd="0" presId="urn:microsoft.com/office/officeart/2005/8/layout/list1"/>
    <dgm:cxn modelId="{D844531B-6669-438A-A953-7E3F8275FF4A}" srcId="{17533E19-5A2A-4125-93A1-598AA7C7FAE3}" destId="{9F544B7E-BB6F-42F0-8CD6-37A9B4D62F88}" srcOrd="2" destOrd="0" parTransId="{D891EB5F-B373-4AF6-9FEF-DEC9E94C1EDF}" sibTransId="{093E1C3F-086F-4777-9009-A7992C4300DD}"/>
    <dgm:cxn modelId="{1682D166-9ECB-4C43-B12C-6BA1F77134DB}" type="presOf" srcId="{7E66EF16-440A-4AD6-939E-279E57D44727}" destId="{856B228F-A259-403F-BDF6-CAD983D1A0E2}" srcOrd="1" destOrd="0" presId="urn:microsoft.com/office/officeart/2005/8/layout/list1"/>
    <dgm:cxn modelId="{CD657E6D-9602-4168-8EA2-8CE897F4F207}" srcId="{17533E19-5A2A-4125-93A1-598AA7C7FAE3}" destId="{7E66EF16-440A-4AD6-939E-279E57D44727}" srcOrd="1" destOrd="0" parTransId="{99141D27-BE25-45C5-BCAE-1B188C2133F5}" sibTransId="{13BAF559-977D-4108-852E-65CB16D93F1B}"/>
    <dgm:cxn modelId="{D0B1A852-554A-48B2-A3FA-BC555C488381}" srcId="{17533E19-5A2A-4125-93A1-598AA7C7FAE3}" destId="{C5D9902A-7ED5-4154-8531-7894B0EABEA0}" srcOrd="0" destOrd="0" parTransId="{1E01E3B9-0CE1-4E84-9F62-A803D707BCA8}" sibTransId="{02453732-B8B6-4813-AA6E-560739F915E1}"/>
    <dgm:cxn modelId="{0A7A1055-B8DC-4876-8A62-84CE29906970}" type="presOf" srcId="{9F544B7E-BB6F-42F0-8CD6-37A9B4D62F88}" destId="{4ACD8D13-B668-4D40-954D-8E8F9AD5CE64}" srcOrd="0" destOrd="0" presId="urn:microsoft.com/office/officeart/2005/8/layout/list1"/>
    <dgm:cxn modelId="{FEF02A7F-3B84-4474-8943-5E08954CEC2D}" type="presOf" srcId="{64C5303A-1CA3-4A69-ADCE-98CE313735BD}" destId="{165D3DDC-7096-4D3E-B5C0-86E4F1E8709D}" srcOrd="1" destOrd="0" presId="urn:microsoft.com/office/officeart/2005/8/layout/list1"/>
    <dgm:cxn modelId="{0CFB4E87-C1F1-444C-A3DB-FECF6F10B382}" srcId="{17533E19-5A2A-4125-93A1-598AA7C7FAE3}" destId="{C78D1109-837B-4600-94E9-394E00C1B30D}" srcOrd="5" destOrd="0" parTransId="{2F2C744B-9A9F-493A-9C99-0FA9B4D28752}" sibTransId="{BFE0056F-491A-44D3-BE1A-2FB96C753B6C}"/>
    <dgm:cxn modelId="{D6521A88-E1A2-49E0-8DAD-5AFC60AF2976}" type="presOf" srcId="{17533E19-5A2A-4125-93A1-598AA7C7FAE3}" destId="{EB42F8E6-F60F-40B0-B2B2-A3D2A5ABD5AD}" srcOrd="0" destOrd="0" presId="urn:microsoft.com/office/officeart/2005/8/layout/list1"/>
    <dgm:cxn modelId="{7AB9C38D-0601-446F-8911-F90E0E7DE52D}" type="presOf" srcId="{64C5303A-1CA3-4A69-ADCE-98CE313735BD}" destId="{7373C091-728A-47D1-9EEB-C76590FA7FED}" srcOrd="0" destOrd="0" presId="urn:microsoft.com/office/officeart/2005/8/layout/list1"/>
    <dgm:cxn modelId="{94D38394-049E-4553-98A6-B76AF7CD5D83}" srcId="{17533E19-5A2A-4125-93A1-598AA7C7FAE3}" destId="{64C5303A-1CA3-4A69-ADCE-98CE313735BD}" srcOrd="4" destOrd="0" parTransId="{E6B608A5-44E1-4D9D-8C8D-6A79BD755003}" sibTransId="{B363344B-3402-452A-8900-45AE6CE8EB69}"/>
    <dgm:cxn modelId="{993FC79E-090D-44CA-B469-42C531944630}" srcId="{17533E19-5A2A-4125-93A1-598AA7C7FAE3}" destId="{FB086AB9-6FE8-42F2-89E8-A75A46345033}" srcOrd="3" destOrd="0" parTransId="{582B97E9-8735-4343-8FCB-70F73FE202EB}" sibTransId="{265F4DA0-5017-422E-AB08-B7D828A3062A}"/>
    <dgm:cxn modelId="{14693CC1-EE11-4B08-86A6-A016A7E69DFD}" type="presOf" srcId="{C5D9902A-7ED5-4154-8531-7894B0EABEA0}" destId="{D76C5EB5-E1AF-41B2-859B-EEED895DEA30}" srcOrd="1" destOrd="0" presId="urn:microsoft.com/office/officeart/2005/8/layout/list1"/>
    <dgm:cxn modelId="{35A608C3-6F2C-4164-A7C2-D01027300C7B}" type="presOf" srcId="{FB086AB9-6FE8-42F2-89E8-A75A46345033}" destId="{612D9C34-24FE-4958-8A27-EE890142D424}" srcOrd="0" destOrd="0" presId="urn:microsoft.com/office/officeart/2005/8/layout/list1"/>
    <dgm:cxn modelId="{4AC68CCB-CF4E-460D-9F5C-FC508A0173DC}" type="presOf" srcId="{C5D9902A-7ED5-4154-8531-7894B0EABEA0}" destId="{12043BBD-C355-46D4-BD23-AA2329B6C502}" srcOrd="0" destOrd="0" presId="urn:microsoft.com/office/officeart/2005/8/layout/list1"/>
    <dgm:cxn modelId="{E60EF1CD-73E4-42A3-AA31-8C7381A11F86}" type="presOf" srcId="{9F544B7E-BB6F-42F0-8CD6-37A9B4D62F88}" destId="{3CD455F3-8D55-4B90-9AE0-9D7BAA7022B6}" srcOrd="1" destOrd="0" presId="urn:microsoft.com/office/officeart/2005/8/layout/list1"/>
    <dgm:cxn modelId="{4C12B7DA-4523-4DC6-A121-DDCAFDCF985A}" type="presOf" srcId="{C78D1109-837B-4600-94E9-394E00C1B30D}" destId="{2EF9DEFC-BC34-421A-9E55-C5F4E20E7F0D}" srcOrd="1" destOrd="0" presId="urn:microsoft.com/office/officeart/2005/8/layout/list1"/>
    <dgm:cxn modelId="{4C3720E5-AEAF-4135-9D99-D0C39AC4AEE8}" type="presOf" srcId="{C78D1109-837B-4600-94E9-394E00C1B30D}" destId="{0DFDE8BC-190E-4DAA-84FA-E0475FA69720}" srcOrd="0" destOrd="0" presId="urn:microsoft.com/office/officeart/2005/8/layout/list1"/>
    <dgm:cxn modelId="{A93627E7-27A0-49BB-8229-3B01F8A5C6D7}" type="presParOf" srcId="{EB42F8E6-F60F-40B0-B2B2-A3D2A5ABD5AD}" destId="{276A1E23-5945-49A8-B205-990D43FB6980}" srcOrd="0" destOrd="0" presId="urn:microsoft.com/office/officeart/2005/8/layout/list1"/>
    <dgm:cxn modelId="{C6BEBAB5-AF03-4421-83E8-7B509F1079A4}" type="presParOf" srcId="{276A1E23-5945-49A8-B205-990D43FB6980}" destId="{12043BBD-C355-46D4-BD23-AA2329B6C502}" srcOrd="0" destOrd="0" presId="urn:microsoft.com/office/officeart/2005/8/layout/list1"/>
    <dgm:cxn modelId="{F0AD054A-D696-40F7-87E5-69474ED28EAA}" type="presParOf" srcId="{276A1E23-5945-49A8-B205-990D43FB6980}" destId="{D76C5EB5-E1AF-41B2-859B-EEED895DEA30}" srcOrd="1" destOrd="0" presId="urn:microsoft.com/office/officeart/2005/8/layout/list1"/>
    <dgm:cxn modelId="{69B36E69-50BB-479B-8B73-27417647ACAF}" type="presParOf" srcId="{EB42F8E6-F60F-40B0-B2B2-A3D2A5ABD5AD}" destId="{BB6D1C18-120A-4808-97ED-E19578356283}" srcOrd="1" destOrd="0" presId="urn:microsoft.com/office/officeart/2005/8/layout/list1"/>
    <dgm:cxn modelId="{49F27249-9B97-481B-920E-6868A7671632}" type="presParOf" srcId="{EB42F8E6-F60F-40B0-B2B2-A3D2A5ABD5AD}" destId="{4F222192-D453-4B4A-843F-4A72AC6E16A2}" srcOrd="2" destOrd="0" presId="urn:microsoft.com/office/officeart/2005/8/layout/list1"/>
    <dgm:cxn modelId="{2ADDFB20-9689-4850-BDCB-B59A33D7CB62}" type="presParOf" srcId="{EB42F8E6-F60F-40B0-B2B2-A3D2A5ABD5AD}" destId="{0FC6646E-8C97-4DB0-AD69-CD3768AE9DFB}" srcOrd="3" destOrd="0" presId="urn:microsoft.com/office/officeart/2005/8/layout/list1"/>
    <dgm:cxn modelId="{7838D052-C966-489E-A6B5-AF63A8FDDD79}" type="presParOf" srcId="{EB42F8E6-F60F-40B0-B2B2-A3D2A5ABD5AD}" destId="{879F8B72-49F8-4D11-A0FD-74C75CCC3A3D}" srcOrd="4" destOrd="0" presId="urn:microsoft.com/office/officeart/2005/8/layout/list1"/>
    <dgm:cxn modelId="{A0818D53-FA9D-4F3C-8CE3-8B79A250A07B}" type="presParOf" srcId="{879F8B72-49F8-4D11-A0FD-74C75CCC3A3D}" destId="{8CBFFD35-0CCD-4100-8890-7FA211238E47}" srcOrd="0" destOrd="0" presId="urn:microsoft.com/office/officeart/2005/8/layout/list1"/>
    <dgm:cxn modelId="{F133122D-F33E-4E83-9E19-FAB1E7AA7970}" type="presParOf" srcId="{879F8B72-49F8-4D11-A0FD-74C75CCC3A3D}" destId="{856B228F-A259-403F-BDF6-CAD983D1A0E2}" srcOrd="1" destOrd="0" presId="urn:microsoft.com/office/officeart/2005/8/layout/list1"/>
    <dgm:cxn modelId="{0137C9B1-A2E2-436C-A84D-5AA7BB886932}" type="presParOf" srcId="{EB42F8E6-F60F-40B0-B2B2-A3D2A5ABD5AD}" destId="{166D6AAF-29D3-47D9-A696-C23671227B0A}" srcOrd="5" destOrd="0" presId="urn:microsoft.com/office/officeart/2005/8/layout/list1"/>
    <dgm:cxn modelId="{A8934EE7-01F2-4AC4-AC6E-99D59BE6B609}" type="presParOf" srcId="{EB42F8E6-F60F-40B0-B2B2-A3D2A5ABD5AD}" destId="{BA767C3B-ED79-4A13-B381-6959C8060EA9}" srcOrd="6" destOrd="0" presId="urn:microsoft.com/office/officeart/2005/8/layout/list1"/>
    <dgm:cxn modelId="{CF02E6E3-0580-4A3A-8AF5-18D077A66EE3}" type="presParOf" srcId="{EB42F8E6-F60F-40B0-B2B2-A3D2A5ABD5AD}" destId="{005382D2-141F-430A-BCBD-FB0E0DB57CD4}" srcOrd="7" destOrd="0" presId="urn:microsoft.com/office/officeart/2005/8/layout/list1"/>
    <dgm:cxn modelId="{16E88C5A-D86E-4E5A-80D0-E628398DC2A5}" type="presParOf" srcId="{EB42F8E6-F60F-40B0-B2B2-A3D2A5ABD5AD}" destId="{F2C78933-1051-4B73-A93F-CEF01DE9A5DB}" srcOrd="8" destOrd="0" presId="urn:microsoft.com/office/officeart/2005/8/layout/list1"/>
    <dgm:cxn modelId="{CDC40779-FAD9-40A8-8FCE-9396A88095F9}" type="presParOf" srcId="{F2C78933-1051-4B73-A93F-CEF01DE9A5DB}" destId="{4ACD8D13-B668-4D40-954D-8E8F9AD5CE64}" srcOrd="0" destOrd="0" presId="urn:microsoft.com/office/officeart/2005/8/layout/list1"/>
    <dgm:cxn modelId="{B1E2E5A6-72D9-4FCC-873A-CB7F28AFABCC}" type="presParOf" srcId="{F2C78933-1051-4B73-A93F-CEF01DE9A5DB}" destId="{3CD455F3-8D55-4B90-9AE0-9D7BAA7022B6}" srcOrd="1" destOrd="0" presId="urn:microsoft.com/office/officeart/2005/8/layout/list1"/>
    <dgm:cxn modelId="{D1895BC9-B6DE-4A03-AF28-DC42EA614CDA}" type="presParOf" srcId="{EB42F8E6-F60F-40B0-B2B2-A3D2A5ABD5AD}" destId="{9708B6B6-5507-4F35-8F48-E80025428A7E}" srcOrd="9" destOrd="0" presId="urn:microsoft.com/office/officeart/2005/8/layout/list1"/>
    <dgm:cxn modelId="{1F44C999-305A-40E2-BCD0-34A1C0F83FFE}" type="presParOf" srcId="{EB42F8E6-F60F-40B0-B2B2-A3D2A5ABD5AD}" destId="{B6B79D58-ACC4-43B5-B7D4-CB5B36EF88AD}" srcOrd="10" destOrd="0" presId="urn:microsoft.com/office/officeart/2005/8/layout/list1"/>
    <dgm:cxn modelId="{2A5ACB0D-6035-4B4C-894C-8CD7AB0C4FB9}" type="presParOf" srcId="{EB42F8E6-F60F-40B0-B2B2-A3D2A5ABD5AD}" destId="{7C1E5307-EAF9-4E1A-B3B9-F87CA66381CD}" srcOrd="11" destOrd="0" presId="urn:microsoft.com/office/officeart/2005/8/layout/list1"/>
    <dgm:cxn modelId="{9BD6DEE5-9FD7-4EC3-A048-D4964B249A26}" type="presParOf" srcId="{EB42F8E6-F60F-40B0-B2B2-A3D2A5ABD5AD}" destId="{75E6ACD6-EEEA-4AB7-BFC2-C095DDD69A57}" srcOrd="12" destOrd="0" presId="urn:microsoft.com/office/officeart/2005/8/layout/list1"/>
    <dgm:cxn modelId="{1A08A316-0BE7-4AD3-80B8-26A99B316938}" type="presParOf" srcId="{75E6ACD6-EEEA-4AB7-BFC2-C095DDD69A57}" destId="{612D9C34-24FE-4958-8A27-EE890142D424}" srcOrd="0" destOrd="0" presId="urn:microsoft.com/office/officeart/2005/8/layout/list1"/>
    <dgm:cxn modelId="{C0A5C3BA-FF6B-44D4-8D62-899B2F9B18BA}" type="presParOf" srcId="{75E6ACD6-EEEA-4AB7-BFC2-C095DDD69A57}" destId="{179FDEF8-D7CD-427A-B285-EE879B8EA4D2}" srcOrd="1" destOrd="0" presId="urn:microsoft.com/office/officeart/2005/8/layout/list1"/>
    <dgm:cxn modelId="{26B5166E-2767-44A9-8C67-04D6AD12295A}" type="presParOf" srcId="{EB42F8E6-F60F-40B0-B2B2-A3D2A5ABD5AD}" destId="{709135BA-071B-49E0-B694-5AD77BEB9D03}" srcOrd="13" destOrd="0" presId="urn:microsoft.com/office/officeart/2005/8/layout/list1"/>
    <dgm:cxn modelId="{9EE795CD-E004-404A-B264-3C064B8B5BE0}" type="presParOf" srcId="{EB42F8E6-F60F-40B0-B2B2-A3D2A5ABD5AD}" destId="{FC0D32A5-9D58-490E-A8D1-BE503E2D5B18}" srcOrd="14" destOrd="0" presId="urn:microsoft.com/office/officeart/2005/8/layout/list1"/>
    <dgm:cxn modelId="{D07D0647-B335-4059-9245-EAC20C2C628B}" type="presParOf" srcId="{EB42F8E6-F60F-40B0-B2B2-A3D2A5ABD5AD}" destId="{D6BAC78F-E18E-45E0-B565-19F21C322375}" srcOrd="15" destOrd="0" presId="urn:microsoft.com/office/officeart/2005/8/layout/list1"/>
    <dgm:cxn modelId="{83A1FB91-4F84-4C88-A0B1-B161C5D06F9C}" type="presParOf" srcId="{EB42F8E6-F60F-40B0-B2B2-A3D2A5ABD5AD}" destId="{D0B04DB3-AC6E-4F2D-85AC-892F8153A999}" srcOrd="16" destOrd="0" presId="urn:microsoft.com/office/officeart/2005/8/layout/list1"/>
    <dgm:cxn modelId="{23D3CBF8-EE58-447A-8C82-3A0FC89D2371}" type="presParOf" srcId="{D0B04DB3-AC6E-4F2D-85AC-892F8153A999}" destId="{7373C091-728A-47D1-9EEB-C76590FA7FED}" srcOrd="0" destOrd="0" presId="urn:microsoft.com/office/officeart/2005/8/layout/list1"/>
    <dgm:cxn modelId="{8748A63F-B6EF-47D0-877A-4CCCDC6CE6A0}" type="presParOf" srcId="{D0B04DB3-AC6E-4F2D-85AC-892F8153A999}" destId="{165D3DDC-7096-4D3E-B5C0-86E4F1E8709D}" srcOrd="1" destOrd="0" presId="urn:microsoft.com/office/officeart/2005/8/layout/list1"/>
    <dgm:cxn modelId="{4436EF02-D0A6-43F3-8011-73000130EFE1}" type="presParOf" srcId="{EB42F8E6-F60F-40B0-B2B2-A3D2A5ABD5AD}" destId="{82BB24F6-EB3C-49ED-8F57-EF5C9198329D}" srcOrd="17" destOrd="0" presId="urn:microsoft.com/office/officeart/2005/8/layout/list1"/>
    <dgm:cxn modelId="{030E264B-491D-4E13-9268-1277B1172B25}" type="presParOf" srcId="{EB42F8E6-F60F-40B0-B2B2-A3D2A5ABD5AD}" destId="{9103310C-A17C-4A08-8DB7-1B66388FB090}" srcOrd="18" destOrd="0" presId="urn:microsoft.com/office/officeart/2005/8/layout/list1"/>
    <dgm:cxn modelId="{50CC3AD7-04A0-4919-8FFC-22F8D517838A}" type="presParOf" srcId="{EB42F8E6-F60F-40B0-B2B2-A3D2A5ABD5AD}" destId="{399911B5-91B3-4193-B6BB-238A91B4BE11}" srcOrd="19" destOrd="0" presId="urn:microsoft.com/office/officeart/2005/8/layout/list1"/>
    <dgm:cxn modelId="{3DB37D39-48ED-480C-8872-44A72EA6C4D5}" type="presParOf" srcId="{EB42F8E6-F60F-40B0-B2B2-A3D2A5ABD5AD}" destId="{F0C942CD-BA3A-48D3-AAFA-8D60673262DE}" srcOrd="20" destOrd="0" presId="urn:microsoft.com/office/officeart/2005/8/layout/list1"/>
    <dgm:cxn modelId="{871AB0A7-27F3-455B-9754-60F6CF2C66F2}" type="presParOf" srcId="{F0C942CD-BA3A-48D3-AAFA-8D60673262DE}" destId="{0DFDE8BC-190E-4DAA-84FA-E0475FA69720}" srcOrd="0" destOrd="0" presId="urn:microsoft.com/office/officeart/2005/8/layout/list1"/>
    <dgm:cxn modelId="{494FD438-23AB-4FA5-AF12-7E1D0F8E5A5E}" type="presParOf" srcId="{F0C942CD-BA3A-48D3-AAFA-8D60673262DE}" destId="{2EF9DEFC-BC34-421A-9E55-C5F4E20E7F0D}" srcOrd="1" destOrd="0" presId="urn:microsoft.com/office/officeart/2005/8/layout/list1"/>
    <dgm:cxn modelId="{16568F3B-D131-4A7E-B0C2-CDF0D57A21BB}" type="presParOf" srcId="{EB42F8E6-F60F-40B0-B2B2-A3D2A5ABD5AD}" destId="{D33F6523-C4AB-481F-A804-CECE75FE202E}" srcOrd="21" destOrd="0" presId="urn:microsoft.com/office/officeart/2005/8/layout/list1"/>
    <dgm:cxn modelId="{68763CFF-A714-4EC8-8D29-0FA23FAFD81D}" type="presParOf" srcId="{EB42F8E6-F60F-40B0-B2B2-A3D2A5ABD5AD}" destId="{5BF31192-ADF6-4C7F-8BE7-8C39CE49B8CC}"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6A7BDA4-271A-4E07-8F76-017B7EF9B6EC}" type="doc">
      <dgm:prSet loTypeId="urn:microsoft.com/office/officeart/2005/8/layout/vList4" loCatId="list" qsTypeId="urn:microsoft.com/office/officeart/2005/8/quickstyle/simple1" qsCatId="simple" csTypeId="urn:microsoft.com/office/officeart/2005/8/colors/colorful1" csCatId="colorful" phldr="1"/>
      <dgm:spPr/>
      <dgm:t>
        <a:bodyPr/>
        <a:lstStyle/>
        <a:p>
          <a:endParaRPr lang="en-US"/>
        </a:p>
      </dgm:t>
    </dgm:pt>
    <dgm:pt modelId="{1FC819BC-0D44-4EA2-BB04-8901B15DBA34}">
      <dgm:prSet phldrT="[Text]" custT="1"/>
      <dgm:spPr/>
      <dgm:t>
        <a:bodyPr/>
        <a:lstStyle/>
        <a:p>
          <a:pPr algn="l"/>
          <a:r>
            <a:rPr lang="en-US" sz="2200" b="1" dirty="0">
              <a:latin typeface="Tw Cen MT" panose="020B0602020104020603" pitchFamily="34" charset="0"/>
            </a:rPr>
            <a:t>Combines</a:t>
          </a:r>
          <a:r>
            <a:rPr lang="en-US" sz="2200" dirty="0">
              <a:latin typeface="Tw Cen MT" panose="020B0602020104020603" pitchFamily="34" charset="0"/>
            </a:rPr>
            <a:t> with other state financial aid to cover the average cost of tuition (at comparable public college rates), some fees, and a small book allowance = </a:t>
          </a:r>
          <a:r>
            <a:rPr lang="en-US" sz="2200" b="1" dirty="0">
              <a:latin typeface="Tw Cen MT" panose="020B0602020104020603" pitchFamily="34" charset="0"/>
            </a:rPr>
            <a:t>commitment. </a:t>
          </a:r>
          <a:endParaRPr lang="en-US" sz="2200" dirty="0">
            <a:latin typeface="Tw Cen MT" panose="020B0602020104020603" pitchFamily="34" charset="0"/>
          </a:endParaRPr>
        </a:p>
      </dgm:t>
    </dgm:pt>
    <dgm:pt modelId="{84B5E11B-E027-4EE9-AC5F-2D6B3F8C169C}" type="parTrans" cxnId="{25C9604E-3306-46FF-BF5D-36A9A0631098}">
      <dgm:prSet/>
      <dgm:spPr/>
      <dgm:t>
        <a:bodyPr/>
        <a:lstStyle/>
        <a:p>
          <a:endParaRPr lang="en-US"/>
        </a:p>
      </dgm:t>
    </dgm:pt>
    <dgm:pt modelId="{7F66B284-5A76-4984-AD9C-082ECF183A3B}" type="sibTrans" cxnId="{25C9604E-3306-46FF-BF5D-36A9A0631098}">
      <dgm:prSet/>
      <dgm:spPr/>
      <dgm:t>
        <a:bodyPr/>
        <a:lstStyle/>
        <a:p>
          <a:endParaRPr lang="en-US"/>
        </a:p>
      </dgm:t>
    </dgm:pt>
    <dgm:pt modelId="{80CF6681-A9D7-48FB-AF6B-D6CEDDE2989A}">
      <dgm:prSet phldrT="[Text]" custT="1"/>
      <dgm:spPr/>
      <dgm:t>
        <a:bodyPr/>
        <a:lstStyle/>
        <a:p>
          <a:pPr algn="l"/>
          <a:r>
            <a:rPr lang="en-US" sz="2200" dirty="0">
              <a:latin typeface="Tw Cen MT" panose="020B0602020104020603" pitchFamily="34" charset="0"/>
            </a:rPr>
            <a:t>Can be used at over </a:t>
          </a:r>
          <a:r>
            <a:rPr lang="en-US" sz="2200" b="1" dirty="0">
              <a:latin typeface="Tw Cen MT" panose="020B0602020104020603" pitchFamily="34" charset="0"/>
            </a:rPr>
            <a:t>65</a:t>
          </a:r>
          <a:r>
            <a:rPr lang="en-US" sz="2200" dirty="0">
              <a:latin typeface="Tw Cen MT" panose="020B0602020104020603" pitchFamily="34" charset="0"/>
            </a:rPr>
            <a:t> two- and four-year public and private colleges and universities. </a:t>
          </a:r>
        </a:p>
      </dgm:t>
    </dgm:pt>
    <dgm:pt modelId="{582AAA5E-72C7-4247-A179-0161B2F70C33}" type="parTrans" cxnId="{272462AE-0DD8-4FFA-A7AB-0BCCF426A996}">
      <dgm:prSet/>
      <dgm:spPr/>
      <dgm:t>
        <a:bodyPr/>
        <a:lstStyle/>
        <a:p>
          <a:endParaRPr lang="en-US"/>
        </a:p>
      </dgm:t>
    </dgm:pt>
    <dgm:pt modelId="{69EB67BA-7473-416E-A781-C77396CC0B5E}" type="sibTrans" cxnId="{272462AE-0DD8-4FFA-A7AB-0BCCF426A996}">
      <dgm:prSet/>
      <dgm:spPr/>
      <dgm:t>
        <a:bodyPr/>
        <a:lstStyle/>
        <a:p>
          <a:endParaRPr lang="en-US"/>
        </a:p>
      </dgm:t>
    </dgm:pt>
    <dgm:pt modelId="{DD2B1303-70B8-49C0-9DF9-E590CD277A7B}" type="pres">
      <dgm:prSet presAssocID="{96A7BDA4-271A-4E07-8F76-017B7EF9B6EC}" presName="linear" presStyleCnt="0">
        <dgm:presLayoutVars>
          <dgm:dir/>
          <dgm:resizeHandles val="exact"/>
        </dgm:presLayoutVars>
      </dgm:prSet>
      <dgm:spPr/>
    </dgm:pt>
    <dgm:pt modelId="{DA842161-B6BB-43D4-B6E2-0C1D1BC29C80}" type="pres">
      <dgm:prSet presAssocID="{1FC819BC-0D44-4EA2-BB04-8901B15DBA34}" presName="comp" presStyleCnt="0"/>
      <dgm:spPr/>
    </dgm:pt>
    <dgm:pt modelId="{EEA2DB17-2112-43FC-A132-9388CC70958C}" type="pres">
      <dgm:prSet presAssocID="{1FC819BC-0D44-4EA2-BB04-8901B15DBA34}" presName="box" presStyleLbl="node1" presStyleIdx="0" presStyleCnt="2"/>
      <dgm:spPr/>
    </dgm:pt>
    <dgm:pt modelId="{3C518B8F-484F-482F-8D40-B5CAB51E65FE}" type="pres">
      <dgm:prSet presAssocID="{1FC819BC-0D44-4EA2-BB04-8901B15DBA34}" presName="img" presStyleLbl="fgImgPlace1" presStyleIdx="0" presStyleCnt="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2000" b="-2000"/>
          </a:stretch>
        </a:blipFill>
      </dgm:spPr>
    </dgm:pt>
    <dgm:pt modelId="{5813E988-654A-4764-8F30-A92C48225034}" type="pres">
      <dgm:prSet presAssocID="{1FC819BC-0D44-4EA2-BB04-8901B15DBA34}" presName="text" presStyleLbl="node1" presStyleIdx="0" presStyleCnt="2">
        <dgm:presLayoutVars>
          <dgm:bulletEnabled val="1"/>
        </dgm:presLayoutVars>
      </dgm:prSet>
      <dgm:spPr/>
    </dgm:pt>
    <dgm:pt modelId="{0DC7101A-D5F5-46F4-8B73-9E5125206287}" type="pres">
      <dgm:prSet presAssocID="{7F66B284-5A76-4984-AD9C-082ECF183A3B}" presName="spacer" presStyleCnt="0"/>
      <dgm:spPr/>
    </dgm:pt>
    <dgm:pt modelId="{D4DFE307-20F7-4FCC-A2CB-BDB4ECAA5917}" type="pres">
      <dgm:prSet presAssocID="{80CF6681-A9D7-48FB-AF6B-D6CEDDE2989A}" presName="comp" presStyleCnt="0"/>
      <dgm:spPr/>
    </dgm:pt>
    <dgm:pt modelId="{90BB8750-7AEB-4CEE-8D21-AADC1C207532}" type="pres">
      <dgm:prSet presAssocID="{80CF6681-A9D7-48FB-AF6B-D6CEDDE2989A}" presName="box" presStyleLbl="node1" presStyleIdx="1" presStyleCnt="2"/>
      <dgm:spPr/>
    </dgm:pt>
    <dgm:pt modelId="{284AE6AC-588C-41F5-9507-A1575D957F90}" type="pres">
      <dgm:prSet presAssocID="{80CF6681-A9D7-48FB-AF6B-D6CEDDE2989A}" presName="img" presStyleLbl="fgImgPlace1" presStyleIdx="1" presStyleCnt="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2000" b="-2000"/>
          </a:stretch>
        </a:blipFill>
      </dgm:spPr>
    </dgm:pt>
    <dgm:pt modelId="{4D0D7B43-090C-47FA-9397-A8FCD57829C5}" type="pres">
      <dgm:prSet presAssocID="{80CF6681-A9D7-48FB-AF6B-D6CEDDE2989A}" presName="text" presStyleLbl="node1" presStyleIdx="1" presStyleCnt="2">
        <dgm:presLayoutVars>
          <dgm:bulletEnabled val="1"/>
        </dgm:presLayoutVars>
      </dgm:prSet>
      <dgm:spPr/>
    </dgm:pt>
  </dgm:ptLst>
  <dgm:cxnLst>
    <dgm:cxn modelId="{ABD1AD35-70D5-41F3-B2B8-166A4FF04C6C}" type="presOf" srcId="{1FC819BC-0D44-4EA2-BB04-8901B15DBA34}" destId="{EEA2DB17-2112-43FC-A132-9388CC70958C}" srcOrd="0" destOrd="0" presId="urn:microsoft.com/office/officeart/2005/8/layout/vList4"/>
    <dgm:cxn modelId="{C091FF3E-E33E-4B93-8F9C-62C27AB1A170}" type="presOf" srcId="{1FC819BC-0D44-4EA2-BB04-8901B15DBA34}" destId="{5813E988-654A-4764-8F30-A92C48225034}" srcOrd="1" destOrd="0" presId="urn:microsoft.com/office/officeart/2005/8/layout/vList4"/>
    <dgm:cxn modelId="{25C9604E-3306-46FF-BF5D-36A9A0631098}" srcId="{96A7BDA4-271A-4E07-8F76-017B7EF9B6EC}" destId="{1FC819BC-0D44-4EA2-BB04-8901B15DBA34}" srcOrd="0" destOrd="0" parTransId="{84B5E11B-E027-4EE9-AC5F-2D6B3F8C169C}" sibTransId="{7F66B284-5A76-4984-AD9C-082ECF183A3B}"/>
    <dgm:cxn modelId="{FE3CEF72-C994-430C-8319-55806D25D1B1}" type="presOf" srcId="{96A7BDA4-271A-4E07-8F76-017B7EF9B6EC}" destId="{DD2B1303-70B8-49C0-9DF9-E590CD277A7B}" srcOrd="0" destOrd="0" presId="urn:microsoft.com/office/officeart/2005/8/layout/vList4"/>
    <dgm:cxn modelId="{272462AE-0DD8-4FFA-A7AB-0BCCF426A996}" srcId="{96A7BDA4-271A-4E07-8F76-017B7EF9B6EC}" destId="{80CF6681-A9D7-48FB-AF6B-D6CEDDE2989A}" srcOrd="1" destOrd="0" parTransId="{582AAA5E-72C7-4247-A179-0161B2F70C33}" sibTransId="{69EB67BA-7473-416E-A781-C77396CC0B5E}"/>
    <dgm:cxn modelId="{4D80F1D1-5D31-4962-B69B-0625B1CD5116}" type="presOf" srcId="{80CF6681-A9D7-48FB-AF6B-D6CEDDE2989A}" destId="{90BB8750-7AEB-4CEE-8D21-AADC1C207532}" srcOrd="0" destOrd="0" presId="urn:microsoft.com/office/officeart/2005/8/layout/vList4"/>
    <dgm:cxn modelId="{B6BEF2F5-8821-4F4E-8FD8-662565D4DD8A}" type="presOf" srcId="{80CF6681-A9D7-48FB-AF6B-D6CEDDE2989A}" destId="{4D0D7B43-090C-47FA-9397-A8FCD57829C5}" srcOrd="1" destOrd="0" presId="urn:microsoft.com/office/officeart/2005/8/layout/vList4"/>
    <dgm:cxn modelId="{2D51280B-C535-4E9E-BDD2-5ED883C943C8}" type="presParOf" srcId="{DD2B1303-70B8-49C0-9DF9-E590CD277A7B}" destId="{DA842161-B6BB-43D4-B6E2-0C1D1BC29C80}" srcOrd="0" destOrd="0" presId="urn:microsoft.com/office/officeart/2005/8/layout/vList4"/>
    <dgm:cxn modelId="{A1047438-D0EA-40B0-BC1C-CAD75337D2C1}" type="presParOf" srcId="{DA842161-B6BB-43D4-B6E2-0C1D1BC29C80}" destId="{EEA2DB17-2112-43FC-A132-9388CC70958C}" srcOrd="0" destOrd="0" presId="urn:microsoft.com/office/officeart/2005/8/layout/vList4"/>
    <dgm:cxn modelId="{AD4F2EFA-CA2B-4A23-9375-C633E5AF73AE}" type="presParOf" srcId="{DA842161-B6BB-43D4-B6E2-0C1D1BC29C80}" destId="{3C518B8F-484F-482F-8D40-B5CAB51E65FE}" srcOrd="1" destOrd="0" presId="urn:microsoft.com/office/officeart/2005/8/layout/vList4"/>
    <dgm:cxn modelId="{59280E2E-717E-4C7B-BAAE-101B8D9BFBC7}" type="presParOf" srcId="{DA842161-B6BB-43D4-B6E2-0C1D1BC29C80}" destId="{5813E988-654A-4764-8F30-A92C48225034}" srcOrd="2" destOrd="0" presId="urn:microsoft.com/office/officeart/2005/8/layout/vList4"/>
    <dgm:cxn modelId="{AD377C24-9ACB-4B1B-A7DD-A0BA6D3B8238}" type="presParOf" srcId="{DD2B1303-70B8-49C0-9DF9-E590CD277A7B}" destId="{0DC7101A-D5F5-46F4-8B73-9E5125206287}" srcOrd="1" destOrd="0" presId="urn:microsoft.com/office/officeart/2005/8/layout/vList4"/>
    <dgm:cxn modelId="{48935018-AC9C-448F-AE81-CB1B7CEACEC7}" type="presParOf" srcId="{DD2B1303-70B8-49C0-9DF9-E590CD277A7B}" destId="{D4DFE307-20F7-4FCC-A2CB-BDB4ECAA5917}" srcOrd="2" destOrd="0" presId="urn:microsoft.com/office/officeart/2005/8/layout/vList4"/>
    <dgm:cxn modelId="{D80B882D-5714-4420-AA89-B03D61C6E4DA}" type="presParOf" srcId="{D4DFE307-20F7-4FCC-A2CB-BDB4ECAA5917}" destId="{90BB8750-7AEB-4CEE-8D21-AADC1C207532}" srcOrd="0" destOrd="0" presId="urn:microsoft.com/office/officeart/2005/8/layout/vList4"/>
    <dgm:cxn modelId="{25350AED-08DF-4790-A846-88422359F2D4}" type="presParOf" srcId="{D4DFE307-20F7-4FCC-A2CB-BDB4ECAA5917}" destId="{284AE6AC-588C-41F5-9507-A1575D957F90}" srcOrd="1" destOrd="0" presId="urn:microsoft.com/office/officeart/2005/8/layout/vList4"/>
    <dgm:cxn modelId="{09974705-A7F5-46E2-B095-BECF46E00C7F}" type="presParOf" srcId="{D4DFE307-20F7-4FCC-A2CB-BDB4ECAA5917}" destId="{4D0D7B43-090C-47FA-9397-A8FCD57829C5}"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A5B5535-72D2-4E41-92A3-9157348983D7}"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D4A4D72E-4B59-4CB4-8E04-A780D9D4B258}">
      <dgm:prSet phldrT="[Text]"/>
      <dgm:spPr/>
      <dgm:t>
        <a:bodyPr/>
        <a:lstStyle/>
        <a:p>
          <a:r>
            <a:rPr lang="en-US" dirty="0">
              <a:latin typeface="Tw Cen MT" panose="020B0602020104020603" pitchFamily="34" charset="0"/>
            </a:rPr>
            <a:t>This tool calculates potential awards from the Washington College Grant and Pell Grant programs. </a:t>
          </a:r>
        </a:p>
      </dgm:t>
    </dgm:pt>
    <dgm:pt modelId="{A2ADEC28-6C93-42BD-A174-C168ED00F1D8}" type="parTrans" cxnId="{EA8A4E21-F9BC-41E1-A8E5-D8FE371F1D60}">
      <dgm:prSet/>
      <dgm:spPr/>
      <dgm:t>
        <a:bodyPr/>
        <a:lstStyle/>
        <a:p>
          <a:endParaRPr lang="en-US"/>
        </a:p>
      </dgm:t>
    </dgm:pt>
    <dgm:pt modelId="{CDF24698-B420-480D-9F4F-BD22FC2C35A8}" type="sibTrans" cxnId="{EA8A4E21-F9BC-41E1-A8E5-D8FE371F1D60}">
      <dgm:prSet/>
      <dgm:spPr/>
      <dgm:t>
        <a:bodyPr/>
        <a:lstStyle/>
        <a:p>
          <a:endParaRPr lang="en-US"/>
        </a:p>
      </dgm:t>
    </dgm:pt>
    <dgm:pt modelId="{DFAB1132-745D-4085-A9FF-1410203565CD}">
      <dgm:prSet/>
      <dgm:spPr/>
      <dgm:t>
        <a:bodyPr/>
        <a:lstStyle/>
        <a:p>
          <a:r>
            <a:rPr lang="en-US" dirty="0">
              <a:latin typeface="Tw Cen MT" panose="020B0602020104020603" pitchFamily="34" charset="0"/>
            </a:rPr>
            <a:t>There may be more aid available to you from other state and federal programs, private scholarships, or directly from the college you attend. </a:t>
          </a:r>
        </a:p>
      </dgm:t>
    </dgm:pt>
    <dgm:pt modelId="{CEB51E57-1C85-4835-8EAB-3FCBEF683A9F}" type="parTrans" cxnId="{1EA891B3-FDFE-4BD8-A42F-AA26D993C6BF}">
      <dgm:prSet/>
      <dgm:spPr/>
      <dgm:t>
        <a:bodyPr/>
        <a:lstStyle/>
        <a:p>
          <a:endParaRPr lang="en-US"/>
        </a:p>
      </dgm:t>
    </dgm:pt>
    <dgm:pt modelId="{6DDEC01C-6F3E-4265-AD85-BFAEFD167698}" type="sibTrans" cxnId="{1EA891B3-FDFE-4BD8-A42F-AA26D993C6BF}">
      <dgm:prSet/>
      <dgm:spPr/>
      <dgm:t>
        <a:bodyPr/>
        <a:lstStyle/>
        <a:p>
          <a:endParaRPr lang="en-US"/>
        </a:p>
      </dgm:t>
    </dgm:pt>
    <dgm:pt modelId="{BD14D04D-46E1-427E-9677-9B1608BF7372}">
      <dgm:prSet/>
      <dgm:spPr/>
      <dgm:t>
        <a:bodyPr/>
        <a:lstStyle/>
        <a:p>
          <a:r>
            <a:rPr lang="en-US" b="0" i="0" dirty="0">
              <a:latin typeface="Tw Cen MT" panose="020B0602020104020603" pitchFamily="34" charset="0"/>
            </a:rPr>
            <a:t>The only way to know for sure how much financial aid you can receive is to complete a FAFSA or WASFA financial aid application</a:t>
          </a:r>
          <a:endParaRPr lang="en-US" dirty="0">
            <a:latin typeface="Tw Cen MT" panose="020B0602020104020603" pitchFamily="34" charset="0"/>
          </a:endParaRPr>
        </a:p>
      </dgm:t>
    </dgm:pt>
    <dgm:pt modelId="{C38A8D43-E84D-47C5-9109-47870E5325C7}" type="parTrans" cxnId="{D0EB2354-744F-42E4-A097-2E8594C096B3}">
      <dgm:prSet/>
      <dgm:spPr/>
      <dgm:t>
        <a:bodyPr/>
        <a:lstStyle/>
        <a:p>
          <a:endParaRPr lang="en-US"/>
        </a:p>
      </dgm:t>
    </dgm:pt>
    <dgm:pt modelId="{536EC113-9CD7-4BE3-92A6-D5C7C3116646}" type="sibTrans" cxnId="{D0EB2354-744F-42E4-A097-2E8594C096B3}">
      <dgm:prSet/>
      <dgm:spPr/>
      <dgm:t>
        <a:bodyPr/>
        <a:lstStyle/>
        <a:p>
          <a:endParaRPr lang="en-US"/>
        </a:p>
      </dgm:t>
    </dgm:pt>
    <dgm:pt modelId="{57B868E6-374F-46A4-BDF8-798F3C5C9D84}" type="pres">
      <dgm:prSet presAssocID="{FA5B5535-72D2-4E41-92A3-9157348983D7}" presName="diagram" presStyleCnt="0">
        <dgm:presLayoutVars>
          <dgm:dir/>
          <dgm:resizeHandles val="exact"/>
        </dgm:presLayoutVars>
      </dgm:prSet>
      <dgm:spPr/>
    </dgm:pt>
    <dgm:pt modelId="{F7E5D955-CF20-4F39-848A-ABA2A4ECD4D7}" type="pres">
      <dgm:prSet presAssocID="{D4A4D72E-4B59-4CB4-8E04-A780D9D4B258}" presName="node" presStyleLbl="node1" presStyleIdx="0" presStyleCnt="3" custScaleX="255370">
        <dgm:presLayoutVars>
          <dgm:bulletEnabled val="1"/>
        </dgm:presLayoutVars>
      </dgm:prSet>
      <dgm:spPr/>
    </dgm:pt>
    <dgm:pt modelId="{23E25A98-554E-4305-A0DB-DBEBF760C9F1}" type="pres">
      <dgm:prSet presAssocID="{CDF24698-B420-480D-9F4F-BD22FC2C35A8}" presName="sibTrans" presStyleCnt="0"/>
      <dgm:spPr/>
    </dgm:pt>
    <dgm:pt modelId="{5AE5D674-42EE-4AD5-974A-CA97D275C5DE}" type="pres">
      <dgm:prSet presAssocID="{DFAB1132-745D-4085-A9FF-1410203565CD}" presName="node" presStyleLbl="node1" presStyleIdx="1" presStyleCnt="3" custScaleX="259992" custScaleY="112266">
        <dgm:presLayoutVars>
          <dgm:bulletEnabled val="1"/>
        </dgm:presLayoutVars>
      </dgm:prSet>
      <dgm:spPr/>
    </dgm:pt>
    <dgm:pt modelId="{B651A2F1-4074-46FD-9F85-162F0CE9E073}" type="pres">
      <dgm:prSet presAssocID="{6DDEC01C-6F3E-4265-AD85-BFAEFD167698}" presName="sibTrans" presStyleCnt="0"/>
      <dgm:spPr/>
    </dgm:pt>
    <dgm:pt modelId="{CE8A557C-7379-4A09-9157-6CB85F90B4AD}" type="pres">
      <dgm:prSet presAssocID="{BD14D04D-46E1-427E-9677-9B1608BF7372}" presName="node" presStyleLbl="node1" presStyleIdx="2" presStyleCnt="3" custScaleX="258558">
        <dgm:presLayoutVars>
          <dgm:bulletEnabled val="1"/>
        </dgm:presLayoutVars>
      </dgm:prSet>
      <dgm:spPr/>
    </dgm:pt>
  </dgm:ptLst>
  <dgm:cxnLst>
    <dgm:cxn modelId="{271D7913-671C-4682-8673-45EC13D2AD83}" type="presOf" srcId="{FA5B5535-72D2-4E41-92A3-9157348983D7}" destId="{57B868E6-374F-46A4-BDF8-798F3C5C9D84}" srcOrd="0" destOrd="0" presId="urn:microsoft.com/office/officeart/2005/8/layout/default"/>
    <dgm:cxn modelId="{EA8A4E21-F9BC-41E1-A8E5-D8FE371F1D60}" srcId="{FA5B5535-72D2-4E41-92A3-9157348983D7}" destId="{D4A4D72E-4B59-4CB4-8E04-A780D9D4B258}" srcOrd="0" destOrd="0" parTransId="{A2ADEC28-6C93-42BD-A174-C168ED00F1D8}" sibTransId="{CDF24698-B420-480D-9F4F-BD22FC2C35A8}"/>
    <dgm:cxn modelId="{D0EB2354-744F-42E4-A097-2E8594C096B3}" srcId="{FA5B5535-72D2-4E41-92A3-9157348983D7}" destId="{BD14D04D-46E1-427E-9677-9B1608BF7372}" srcOrd="2" destOrd="0" parTransId="{C38A8D43-E84D-47C5-9109-47870E5325C7}" sibTransId="{536EC113-9CD7-4BE3-92A6-D5C7C3116646}"/>
    <dgm:cxn modelId="{312A83A6-06D0-4EE8-8895-A3C6547B4273}" type="presOf" srcId="{BD14D04D-46E1-427E-9677-9B1608BF7372}" destId="{CE8A557C-7379-4A09-9157-6CB85F90B4AD}" srcOrd="0" destOrd="0" presId="urn:microsoft.com/office/officeart/2005/8/layout/default"/>
    <dgm:cxn modelId="{1EA891B3-FDFE-4BD8-A42F-AA26D993C6BF}" srcId="{FA5B5535-72D2-4E41-92A3-9157348983D7}" destId="{DFAB1132-745D-4085-A9FF-1410203565CD}" srcOrd="1" destOrd="0" parTransId="{CEB51E57-1C85-4835-8EAB-3FCBEF683A9F}" sibTransId="{6DDEC01C-6F3E-4265-AD85-BFAEFD167698}"/>
    <dgm:cxn modelId="{CBF918CB-D87A-4E62-80B4-260AE14AF536}" type="presOf" srcId="{DFAB1132-745D-4085-A9FF-1410203565CD}" destId="{5AE5D674-42EE-4AD5-974A-CA97D275C5DE}" srcOrd="0" destOrd="0" presId="urn:microsoft.com/office/officeart/2005/8/layout/default"/>
    <dgm:cxn modelId="{07DBC7E8-E39E-4291-A663-4C289BF8FDA6}" type="presOf" srcId="{D4A4D72E-4B59-4CB4-8E04-A780D9D4B258}" destId="{F7E5D955-CF20-4F39-848A-ABA2A4ECD4D7}" srcOrd="0" destOrd="0" presId="urn:microsoft.com/office/officeart/2005/8/layout/default"/>
    <dgm:cxn modelId="{DC677EDA-ED21-4616-BEE9-297529201427}" type="presParOf" srcId="{57B868E6-374F-46A4-BDF8-798F3C5C9D84}" destId="{F7E5D955-CF20-4F39-848A-ABA2A4ECD4D7}" srcOrd="0" destOrd="0" presId="urn:microsoft.com/office/officeart/2005/8/layout/default"/>
    <dgm:cxn modelId="{D8A98D9E-A11A-462A-86B7-E5DE69DAB3E2}" type="presParOf" srcId="{57B868E6-374F-46A4-BDF8-798F3C5C9D84}" destId="{23E25A98-554E-4305-A0DB-DBEBF760C9F1}" srcOrd="1" destOrd="0" presId="urn:microsoft.com/office/officeart/2005/8/layout/default"/>
    <dgm:cxn modelId="{ED3F2339-3B22-4684-A000-E4B5CF7D156A}" type="presParOf" srcId="{57B868E6-374F-46A4-BDF8-798F3C5C9D84}" destId="{5AE5D674-42EE-4AD5-974A-CA97D275C5DE}" srcOrd="2" destOrd="0" presId="urn:microsoft.com/office/officeart/2005/8/layout/default"/>
    <dgm:cxn modelId="{658C3806-8A74-4971-B732-0C15B5118B12}" type="presParOf" srcId="{57B868E6-374F-46A4-BDF8-798F3C5C9D84}" destId="{B651A2F1-4074-46FD-9F85-162F0CE9E073}" srcOrd="3" destOrd="0" presId="urn:microsoft.com/office/officeart/2005/8/layout/default"/>
    <dgm:cxn modelId="{C3889150-E65F-448A-925C-F6B2EA51B72E}" type="presParOf" srcId="{57B868E6-374F-46A4-BDF8-798F3C5C9D84}" destId="{CE8A557C-7379-4A09-9157-6CB85F90B4AD}"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89A4BD5-8F16-45E9-BAF2-EA71AF70EB21}" type="doc">
      <dgm:prSet loTypeId="urn:microsoft.com/office/officeart/2005/8/layout/hList1" loCatId="list" qsTypeId="urn:microsoft.com/office/officeart/2005/8/quickstyle/simple2" qsCatId="simple" csTypeId="urn:microsoft.com/office/officeart/2005/8/colors/colorful1" csCatId="colorful" phldr="1"/>
      <dgm:spPr/>
      <dgm:t>
        <a:bodyPr/>
        <a:lstStyle/>
        <a:p>
          <a:endParaRPr lang="en-US"/>
        </a:p>
      </dgm:t>
    </dgm:pt>
    <dgm:pt modelId="{1557F0A1-92EE-466C-856F-BC8C4AC7D129}">
      <dgm:prSet phldrT="[Text]" custT="1"/>
      <dgm:spPr/>
      <dgm:t>
        <a:bodyPr/>
        <a:lstStyle/>
        <a:p>
          <a:pPr algn="ctr"/>
          <a:r>
            <a:rPr lang="en-US" sz="4400" dirty="0">
              <a:latin typeface="+mj-lt"/>
            </a:rPr>
            <a:t>FAFSA</a:t>
          </a:r>
        </a:p>
      </dgm:t>
    </dgm:pt>
    <dgm:pt modelId="{DE6A8F3F-E08A-4991-B449-20529FC0C781}" type="parTrans" cxnId="{E53A8EC2-3817-4FEC-AFAE-F933A889DFDF}">
      <dgm:prSet/>
      <dgm:spPr/>
      <dgm:t>
        <a:bodyPr/>
        <a:lstStyle/>
        <a:p>
          <a:endParaRPr lang="en-US"/>
        </a:p>
      </dgm:t>
    </dgm:pt>
    <dgm:pt modelId="{60D7A9B1-2A7E-4024-95E2-7C34102C449B}" type="sibTrans" cxnId="{E53A8EC2-3817-4FEC-AFAE-F933A889DFDF}">
      <dgm:prSet/>
      <dgm:spPr/>
      <dgm:t>
        <a:bodyPr/>
        <a:lstStyle/>
        <a:p>
          <a:endParaRPr lang="en-US"/>
        </a:p>
      </dgm:t>
    </dgm:pt>
    <dgm:pt modelId="{99FAB7B4-A7AC-41CE-A913-618B29B4CCF9}">
      <dgm:prSet phldrT="[Text]" custT="1"/>
      <dgm:spPr/>
      <dgm:t>
        <a:bodyPr/>
        <a:lstStyle/>
        <a:p>
          <a:r>
            <a:rPr lang="en-US" sz="2800" dirty="0">
              <a:latin typeface="+mj-lt"/>
            </a:rPr>
            <a:t>Free Application for Federal Student Aid</a:t>
          </a:r>
        </a:p>
      </dgm:t>
    </dgm:pt>
    <dgm:pt modelId="{8CA54C34-E738-4923-8AA7-F13BE773B5BA}" type="parTrans" cxnId="{1D0A5975-7DC3-4591-B3A8-10DB7DA25CAF}">
      <dgm:prSet/>
      <dgm:spPr/>
      <dgm:t>
        <a:bodyPr/>
        <a:lstStyle/>
        <a:p>
          <a:endParaRPr lang="en-US"/>
        </a:p>
      </dgm:t>
    </dgm:pt>
    <dgm:pt modelId="{4E75E81B-CEA5-409C-B39B-2B073B39016D}" type="sibTrans" cxnId="{1D0A5975-7DC3-4591-B3A8-10DB7DA25CAF}">
      <dgm:prSet/>
      <dgm:spPr/>
      <dgm:t>
        <a:bodyPr/>
        <a:lstStyle/>
        <a:p>
          <a:endParaRPr lang="en-US"/>
        </a:p>
      </dgm:t>
    </dgm:pt>
    <dgm:pt modelId="{09E41CF7-16E5-4EAA-9E56-F2F77ADEA8B5}">
      <dgm:prSet phldrT="[Text]" custT="1"/>
      <dgm:spPr/>
      <dgm:t>
        <a:bodyPr/>
        <a:lstStyle/>
        <a:p>
          <a:r>
            <a:rPr lang="en-US" sz="2800" dirty="0">
              <a:latin typeface="+mj-lt"/>
            </a:rPr>
            <a:t>FAFSA.gov</a:t>
          </a:r>
        </a:p>
      </dgm:t>
    </dgm:pt>
    <dgm:pt modelId="{49D5A7BE-6931-4C18-9003-D824A681A33B}" type="parTrans" cxnId="{22E90E25-26E3-475D-8D44-3AC2E98B3FA6}">
      <dgm:prSet/>
      <dgm:spPr/>
      <dgm:t>
        <a:bodyPr/>
        <a:lstStyle/>
        <a:p>
          <a:endParaRPr lang="en-US"/>
        </a:p>
      </dgm:t>
    </dgm:pt>
    <dgm:pt modelId="{9A9255E3-85FD-46EC-811A-B6756ABF1A3C}" type="sibTrans" cxnId="{22E90E25-26E3-475D-8D44-3AC2E98B3FA6}">
      <dgm:prSet/>
      <dgm:spPr/>
      <dgm:t>
        <a:bodyPr/>
        <a:lstStyle/>
        <a:p>
          <a:endParaRPr lang="en-US"/>
        </a:p>
      </dgm:t>
    </dgm:pt>
    <dgm:pt modelId="{2CA22DD1-2095-4CF7-9BB9-9FF981C7BF31}">
      <dgm:prSet phldrT="[Text]" custT="1"/>
      <dgm:spPr/>
      <dgm:t>
        <a:bodyPr/>
        <a:lstStyle/>
        <a:p>
          <a:pPr algn="ctr"/>
          <a:r>
            <a:rPr lang="en-US" sz="4400" dirty="0">
              <a:latin typeface="+mj-lt"/>
            </a:rPr>
            <a:t>WASFA</a:t>
          </a:r>
        </a:p>
      </dgm:t>
    </dgm:pt>
    <dgm:pt modelId="{ADAC30CF-2BA5-4E0E-8DE4-AA4CFB07A961}" type="parTrans" cxnId="{4F56C018-34C0-496B-B022-3179075CA688}">
      <dgm:prSet/>
      <dgm:spPr/>
      <dgm:t>
        <a:bodyPr/>
        <a:lstStyle/>
        <a:p>
          <a:endParaRPr lang="en-US"/>
        </a:p>
      </dgm:t>
    </dgm:pt>
    <dgm:pt modelId="{22985697-D7AF-443B-BD4E-91BC30D4886C}" type="sibTrans" cxnId="{4F56C018-34C0-496B-B022-3179075CA688}">
      <dgm:prSet/>
      <dgm:spPr/>
      <dgm:t>
        <a:bodyPr/>
        <a:lstStyle/>
        <a:p>
          <a:endParaRPr lang="en-US"/>
        </a:p>
      </dgm:t>
    </dgm:pt>
    <dgm:pt modelId="{29C43FF0-E083-4B1E-9D5A-7257B36536CD}">
      <dgm:prSet phldrT="[Text]" custT="1"/>
      <dgm:spPr/>
      <dgm:t>
        <a:bodyPr/>
        <a:lstStyle/>
        <a:p>
          <a:r>
            <a:rPr lang="en-US" sz="2800" dirty="0">
              <a:latin typeface="+mj-lt"/>
            </a:rPr>
            <a:t>Washington Application for State Financial Aid</a:t>
          </a:r>
        </a:p>
      </dgm:t>
    </dgm:pt>
    <dgm:pt modelId="{48A3B3D7-A860-493A-A0E4-E9348CC16C27}" type="parTrans" cxnId="{484C6417-7289-4F66-88E8-F76142CA7F47}">
      <dgm:prSet/>
      <dgm:spPr/>
      <dgm:t>
        <a:bodyPr/>
        <a:lstStyle/>
        <a:p>
          <a:endParaRPr lang="en-US"/>
        </a:p>
      </dgm:t>
    </dgm:pt>
    <dgm:pt modelId="{773B4F4E-FDC1-487F-B60C-B9FEBA8CE847}" type="sibTrans" cxnId="{484C6417-7289-4F66-88E8-F76142CA7F47}">
      <dgm:prSet/>
      <dgm:spPr/>
      <dgm:t>
        <a:bodyPr/>
        <a:lstStyle/>
        <a:p>
          <a:endParaRPr lang="en-US"/>
        </a:p>
      </dgm:t>
    </dgm:pt>
    <dgm:pt modelId="{41FC21A0-9CE9-4886-9E2C-EF3378732130}">
      <dgm:prSet phldrT="[Text]" custT="1"/>
      <dgm:spPr/>
      <dgm:t>
        <a:bodyPr/>
        <a:lstStyle/>
        <a:p>
          <a:r>
            <a:rPr lang="en-US" sz="2800" dirty="0">
              <a:latin typeface="+mj-lt"/>
            </a:rPr>
            <a:t>wsac.wa.gov/WASFA</a:t>
          </a:r>
        </a:p>
      </dgm:t>
    </dgm:pt>
    <dgm:pt modelId="{4AA275DD-5DF5-41C4-9C00-E6080EEE2F1E}" type="parTrans" cxnId="{B0051CE6-9B39-4363-994D-901ED864E2AF}">
      <dgm:prSet/>
      <dgm:spPr/>
      <dgm:t>
        <a:bodyPr/>
        <a:lstStyle/>
        <a:p>
          <a:endParaRPr lang="en-US"/>
        </a:p>
      </dgm:t>
    </dgm:pt>
    <dgm:pt modelId="{E51558D0-BD45-4A56-B3ED-AEA694445BF3}" type="sibTrans" cxnId="{B0051CE6-9B39-4363-994D-901ED864E2AF}">
      <dgm:prSet/>
      <dgm:spPr/>
      <dgm:t>
        <a:bodyPr/>
        <a:lstStyle/>
        <a:p>
          <a:endParaRPr lang="en-US"/>
        </a:p>
      </dgm:t>
    </dgm:pt>
    <dgm:pt modelId="{C0CC851F-CDF3-4979-BA73-CA6726C3D416}" type="pres">
      <dgm:prSet presAssocID="{589A4BD5-8F16-45E9-BAF2-EA71AF70EB21}" presName="Name0" presStyleCnt="0">
        <dgm:presLayoutVars>
          <dgm:dir/>
          <dgm:animLvl val="lvl"/>
          <dgm:resizeHandles val="exact"/>
        </dgm:presLayoutVars>
      </dgm:prSet>
      <dgm:spPr/>
    </dgm:pt>
    <dgm:pt modelId="{E744B6BA-DA99-4B21-933A-22E85D5A2BE0}" type="pres">
      <dgm:prSet presAssocID="{1557F0A1-92EE-466C-856F-BC8C4AC7D129}" presName="composite" presStyleCnt="0"/>
      <dgm:spPr/>
    </dgm:pt>
    <dgm:pt modelId="{8CFE61BE-0847-4FDE-8AB8-A750B2543EE6}" type="pres">
      <dgm:prSet presAssocID="{1557F0A1-92EE-466C-856F-BC8C4AC7D129}" presName="parTx" presStyleLbl="alignNode1" presStyleIdx="0" presStyleCnt="2">
        <dgm:presLayoutVars>
          <dgm:chMax val="0"/>
          <dgm:chPref val="0"/>
          <dgm:bulletEnabled val="1"/>
        </dgm:presLayoutVars>
      </dgm:prSet>
      <dgm:spPr/>
    </dgm:pt>
    <dgm:pt modelId="{14AEABD4-9E14-47D3-B6C5-BC6867EE1DB7}" type="pres">
      <dgm:prSet presAssocID="{1557F0A1-92EE-466C-856F-BC8C4AC7D129}" presName="desTx" presStyleLbl="alignAccFollowNode1" presStyleIdx="0" presStyleCnt="2">
        <dgm:presLayoutVars>
          <dgm:bulletEnabled val="1"/>
        </dgm:presLayoutVars>
      </dgm:prSet>
      <dgm:spPr/>
    </dgm:pt>
    <dgm:pt modelId="{8C0B7AAF-9693-4D3E-94E0-79305C765628}" type="pres">
      <dgm:prSet presAssocID="{60D7A9B1-2A7E-4024-95E2-7C34102C449B}" presName="space" presStyleCnt="0"/>
      <dgm:spPr/>
    </dgm:pt>
    <dgm:pt modelId="{FC6E1393-89F3-41CE-97FD-A38DAB444DFF}" type="pres">
      <dgm:prSet presAssocID="{2CA22DD1-2095-4CF7-9BB9-9FF981C7BF31}" presName="composite" presStyleCnt="0"/>
      <dgm:spPr/>
    </dgm:pt>
    <dgm:pt modelId="{E8D16B93-82BB-4417-9D6A-BE7708DD5E5B}" type="pres">
      <dgm:prSet presAssocID="{2CA22DD1-2095-4CF7-9BB9-9FF981C7BF31}" presName="parTx" presStyleLbl="alignNode1" presStyleIdx="1" presStyleCnt="2">
        <dgm:presLayoutVars>
          <dgm:chMax val="0"/>
          <dgm:chPref val="0"/>
          <dgm:bulletEnabled val="1"/>
        </dgm:presLayoutVars>
      </dgm:prSet>
      <dgm:spPr/>
    </dgm:pt>
    <dgm:pt modelId="{8E0F0E90-230F-4D92-B12C-4BB0B3A64D97}" type="pres">
      <dgm:prSet presAssocID="{2CA22DD1-2095-4CF7-9BB9-9FF981C7BF31}" presName="desTx" presStyleLbl="alignAccFollowNode1" presStyleIdx="1" presStyleCnt="2">
        <dgm:presLayoutVars>
          <dgm:bulletEnabled val="1"/>
        </dgm:presLayoutVars>
      </dgm:prSet>
      <dgm:spPr/>
    </dgm:pt>
  </dgm:ptLst>
  <dgm:cxnLst>
    <dgm:cxn modelId="{484C6417-7289-4F66-88E8-F76142CA7F47}" srcId="{2CA22DD1-2095-4CF7-9BB9-9FF981C7BF31}" destId="{29C43FF0-E083-4B1E-9D5A-7257B36536CD}" srcOrd="0" destOrd="0" parTransId="{48A3B3D7-A860-493A-A0E4-E9348CC16C27}" sibTransId="{773B4F4E-FDC1-487F-B60C-B9FEBA8CE847}"/>
    <dgm:cxn modelId="{4F56C018-34C0-496B-B022-3179075CA688}" srcId="{589A4BD5-8F16-45E9-BAF2-EA71AF70EB21}" destId="{2CA22DD1-2095-4CF7-9BB9-9FF981C7BF31}" srcOrd="1" destOrd="0" parTransId="{ADAC30CF-2BA5-4E0E-8DE4-AA4CFB07A961}" sibTransId="{22985697-D7AF-443B-BD4E-91BC30D4886C}"/>
    <dgm:cxn modelId="{22E90E25-26E3-475D-8D44-3AC2E98B3FA6}" srcId="{1557F0A1-92EE-466C-856F-BC8C4AC7D129}" destId="{09E41CF7-16E5-4EAA-9E56-F2F77ADEA8B5}" srcOrd="1" destOrd="0" parTransId="{49D5A7BE-6931-4C18-9003-D824A681A33B}" sibTransId="{9A9255E3-85FD-46EC-811A-B6756ABF1A3C}"/>
    <dgm:cxn modelId="{ABB6B266-2E9A-4DA0-A523-2DF09038D380}" type="presOf" srcId="{589A4BD5-8F16-45E9-BAF2-EA71AF70EB21}" destId="{C0CC851F-CDF3-4979-BA73-CA6726C3D416}" srcOrd="0" destOrd="0" presId="urn:microsoft.com/office/officeart/2005/8/layout/hList1"/>
    <dgm:cxn modelId="{9AC6566D-9DBE-4C77-9924-414ED35C11BC}" type="presOf" srcId="{99FAB7B4-A7AC-41CE-A913-618B29B4CCF9}" destId="{14AEABD4-9E14-47D3-B6C5-BC6867EE1DB7}" srcOrd="0" destOrd="0" presId="urn:microsoft.com/office/officeart/2005/8/layout/hList1"/>
    <dgm:cxn modelId="{33AA3D73-2F1D-448A-935A-B8EBA77FC531}" type="presOf" srcId="{2CA22DD1-2095-4CF7-9BB9-9FF981C7BF31}" destId="{E8D16B93-82BB-4417-9D6A-BE7708DD5E5B}" srcOrd="0" destOrd="0" presId="urn:microsoft.com/office/officeart/2005/8/layout/hList1"/>
    <dgm:cxn modelId="{1D0A5975-7DC3-4591-B3A8-10DB7DA25CAF}" srcId="{1557F0A1-92EE-466C-856F-BC8C4AC7D129}" destId="{99FAB7B4-A7AC-41CE-A913-618B29B4CCF9}" srcOrd="0" destOrd="0" parTransId="{8CA54C34-E738-4923-8AA7-F13BE773B5BA}" sibTransId="{4E75E81B-CEA5-409C-B39B-2B073B39016D}"/>
    <dgm:cxn modelId="{499E559D-1AD6-4DCC-9750-018FB149A14D}" type="presOf" srcId="{41FC21A0-9CE9-4886-9E2C-EF3378732130}" destId="{8E0F0E90-230F-4D92-B12C-4BB0B3A64D97}" srcOrd="0" destOrd="1" presId="urn:microsoft.com/office/officeart/2005/8/layout/hList1"/>
    <dgm:cxn modelId="{C90F48A2-9C98-4AF5-8618-795D0F083B39}" type="presOf" srcId="{1557F0A1-92EE-466C-856F-BC8C4AC7D129}" destId="{8CFE61BE-0847-4FDE-8AB8-A750B2543EE6}" srcOrd="0" destOrd="0" presId="urn:microsoft.com/office/officeart/2005/8/layout/hList1"/>
    <dgm:cxn modelId="{E53A8EC2-3817-4FEC-AFAE-F933A889DFDF}" srcId="{589A4BD5-8F16-45E9-BAF2-EA71AF70EB21}" destId="{1557F0A1-92EE-466C-856F-BC8C4AC7D129}" srcOrd="0" destOrd="0" parTransId="{DE6A8F3F-E08A-4991-B449-20529FC0C781}" sibTransId="{60D7A9B1-2A7E-4024-95E2-7C34102C449B}"/>
    <dgm:cxn modelId="{A5167CC3-E238-4643-A9CD-6251BD5BFBAF}" type="presOf" srcId="{29C43FF0-E083-4B1E-9D5A-7257B36536CD}" destId="{8E0F0E90-230F-4D92-B12C-4BB0B3A64D97}" srcOrd="0" destOrd="0" presId="urn:microsoft.com/office/officeart/2005/8/layout/hList1"/>
    <dgm:cxn modelId="{B0051CE6-9B39-4363-994D-901ED864E2AF}" srcId="{2CA22DD1-2095-4CF7-9BB9-9FF981C7BF31}" destId="{41FC21A0-9CE9-4886-9E2C-EF3378732130}" srcOrd="1" destOrd="0" parTransId="{4AA275DD-5DF5-41C4-9C00-E6080EEE2F1E}" sibTransId="{E51558D0-BD45-4A56-B3ED-AEA694445BF3}"/>
    <dgm:cxn modelId="{C68174F0-11BA-4BFE-BEDE-180A9A6B0357}" type="presOf" srcId="{09E41CF7-16E5-4EAA-9E56-F2F77ADEA8B5}" destId="{14AEABD4-9E14-47D3-B6C5-BC6867EE1DB7}" srcOrd="0" destOrd="1" presId="urn:microsoft.com/office/officeart/2005/8/layout/hList1"/>
    <dgm:cxn modelId="{646F3FA2-B339-4288-A9F3-6549A94FFD98}" type="presParOf" srcId="{C0CC851F-CDF3-4979-BA73-CA6726C3D416}" destId="{E744B6BA-DA99-4B21-933A-22E85D5A2BE0}" srcOrd="0" destOrd="0" presId="urn:microsoft.com/office/officeart/2005/8/layout/hList1"/>
    <dgm:cxn modelId="{0ACD6E2F-4CDB-46AF-A210-9FE51A64F774}" type="presParOf" srcId="{E744B6BA-DA99-4B21-933A-22E85D5A2BE0}" destId="{8CFE61BE-0847-4FDE-8AB8-A750B2543EE6}" srcOrd="0" destOrd="0" presId="urn:microsoft.com/office/officeart/2005/8/layout/hList1"/>
    <dgm:cxn modelId="{0B0FD80D-DD80-4963-BD46-7905FDEB7F35}" type="presParOf" srcId="{E744B6BA-DA99-4B21-933A-22E85D5A2BE0}" destId="{14AEABD4-9E14-47D3-B6C5-BC6867EE1DB7}" srcOrd="1" destOrd="0" presId="urn:microsoft.com/office/officeart/2005/8/layout/hList1"/>
    <dgm:cxn modelId="{B927A77E-5C48-4297-8980-2E69901D15C9}" type="presParOf" srcId="{C0CC851F-CDF3-4979-BA73-CA6726C3D416}" destId="{8C0B7AAF-9693-4D3E-94E0-79305C765628}" srcOrd="1" destOrd="0" presId="urn:microsoft.com/office/officeart/2005/8/layout/hList1"/>
    <dgm:cxn modelId="{C04CFF62-BA1D-48F3-A1E6-97C5F4A35311}" type="presParOf" srcId="{C0CC851F-CDF3-4979-BA73-CA6726C3D416}" destId="{FC6E1393-89F3-41CE-97FD-A38DAB444DFF}" srcOrd="2" destOrd="0" presId="urn:microsoft.com/office/officeart/2005/8/layout/hList1"/>
    <dgm:cxn modelId="{ADF54001-9CA4-4AEE-9C19-F1CE1E5C7A96}" type="presParOf" srcId="{FC6E1393-89F3-41CE-97FD-A38DAB444DFF}" destId="{E8D16B93-82BB-4417-9D6A-BE7708DD5E5B}" srcOrd="0" destOrd="0" presId="urn:microsoft.com/office/officeart/2005/8/layout/hList1"/>
    <dgm:cxn modelId="{91D403C1-88D3-4A49-B897-3E2355CB7817}" type="presParOf" srcId="{FC6E1393-89F3-41CE-97FD-A38DAB444DFF}" destId="{8E0F0E90-230F-4D92-B12C-4BB0B3A64D97}" srcOrd="1" destOrd="0" presId="urn:microsoft.com/office/officeart/2005/8/layout/hList1"/>
  </dgm:cxnLst>
  <dgm:bg/>
  <dgm:whole>
    <a:ln>
      <a:solidFill>
        <a:schemeClr val="accent5">
          <a:lumMod val="20000"/>
          <a:lumOff val="80000"/>
          <a:alpha val="76000"/>
        </a:schemeClr>
      </a:solidFill>
    </a:ln>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13.xml><?xml version="1.0" encoding="utf-8"?>
<dgm:dataModel xmlns:dgm="http://schemas.openxmlformats.org/drawingml/2006/diagram" xmlns:a="http://schemas.openxmlformats.org/drawingml/2006/main">
  <dgm:ptLst>
    <dgm:pt modelId="{56D2F51B-3BC6-4CA4-B1DB-BBB987426252}" type="doc">
      <dgm:prSet loTypeId="urn:microsoft.com/office/officeart/2005/8/layout/pList2" loCatId="list" qsTypeId="urn:microsoft.com/office/officeart/2005/8/quickstyle/simple1" qsCatId="simple" csTypeId="urn:microsoft.com/office/officeart/2005/8/colors/accent1_2" csCatId="accent1" phldr="1"/>
      <dgm:spPr/>
    </dgm:pt>
    <dgm:pt modelId="{95020CAF-9298-4829-AC0B-B506C6572929}">
      <dgm:prSet phldrT="[Text]"/>
      <dgm:spPr/>
      <dgm:t>
        <a:bodyPr/>
        <a:lstStyle/>
        <a:p>
          <a:r>
            <a:rPr lang="en-US" dirty="0">
              <a:latin typeface="+mj-lt"/>
            </a:rPr>
            <a:t>Website</a:t>
          </a:r>
        </a:p>
      </dgm:t>
    </dgm:pt>
    <dgm:pt modelId="{072C7090-759F-46F5-B243-B224889AA15E}" type="parTrans" cxnId="{1DEA37F6-389D-45DE-91A9-F32AE9B3B7E6}">
      <dgm:prSet/>
      <dgm:spPr/>
      <dgm:t>
        <a:bodyPr/>
        <a:lstStyle/>
        <a:p>
          <a:endParaRPr lang="en-US"/>
        </a:p>
      </dgm:t>
    </dgm:pt>
    <dgm:pt modelId="{73F21DFF-757B-4C46-B55F-557831AE564A}" type="sibTrans" cxnId="{1DEA37F6-389D-45DE-91A9-F32AE9B3B7E6}">
      <dgm:prSet/>
      <dgm:spPr/>
      <dgm:t>
        <a:bodyPr/>
        <a:lstStyle/>
        <a:p>
          <a:endParaRPr lang="en-US"/>
        </a:p>
      </dgm:t>
    </dgm:pt>
    <dgm:pt modelId="{46EAEBAB-1BCF-4498-A44F-9023DEE61B43}">
      <dgm:prSet phldrT="[Text]"/>
      <dgm:spPr/>
      <dgm:t>
        <a:bodyPr/>
        <a:lstStyle/>
        <a:p>
          <a:r>
            <a:rPr lang="en-US" dirty="0">
              <a:latin typeface="+mj-lt"/>
            </a:rPr>
            <a:t>Paper FAFSA</a:t>
          </a:r>
        </a:p>
      </dgm:t>
    </dgm:pt>
    <dgm:pt modelId="{E9805E15-025E-4265-BFEA-5832C6259FA0}" type="parTrans" cxnId="{AF084B60-3CE0-4E67-AC70-774995E536E6}">
      <dgm:prSet/>
      <dgm:spPr/>
      <dgm:t>
        <a:bodyPr/>
        <a:lstStyle/>
        <a:p>
          <a:endParaRPr lang="en-US"/>
        </a:p>
      </dgm:t>
    </dgm:pt>
    <dgm:pt modelId="{F34D50C1-8577-4FB7-B71B-AD069BAC9278}" type="sibTrans" cxnId="{AF084B60-3CE0-4E67-AC70-774995E536E6}">
      <dgm:prSet/>
      <dgm:spPr/>
      <dgm:t>
        <a:bodyPr/>
        <a:lstStyle/>
        <a:p>
          <a:endParaRPr lang="en-US"/>
        </a:p>
      </dgm:t>
    </dgm:pt>
    <dgm:pt modelId="{03BF083B-A669-4B85-8660-EE6C76BB50E4}" type="pres">
      <dgm:prSet presAssocID="{56D2F51B-3BC6-4CA4-B1DB-BBB987426252}" presName="Name0" presStyleCnt="0">
        <dgm:presLayoutVars>
          <dgm:dir/>
          <dgm:resizeHandles val="exact"/>
        </dgm:presLayoutVars>
      </dgm:prSet>
      <dgm:spPr/>
    </dgm:pt>
    <dgm:pt modelId="{E5585F1D-8AAD-459C-924B-3BAA73EA1E3C}" type="pres">
      <dgm:prSet presAssocID="{56D2F51B-3BC6-4CA4-B1DB-BBB987426252}" presName="bkgdShp" presStyleLbl="alignAccFollowNode1" presStyleIdx="0" presStyleCnt="1"/>
      <dgm:spPr/>
    </dgm:pt>
    <dgm:pt modelId="{901D9084-9BD2-4893-8B3F-CC9BE2795B89}" type="pres">
      <dgm:prSet presAssocID="{56D2F51B-3BC6-4CA4-B1DB-BBB987426252}" presName="linComp" presStyleCnt="0"/>
      <dgm:spPr/>
    </dgm:pt>
    <dgm:pt modelId="{0FC546EA-9111-4405-B8AB-E87BAF642365}" type="pres">
      <dgm:prSet presAssocID="{95020CAF-9298-4829-AC0B-B506C6572929}" presName="compNode" presStyleCnt="0"/>
      <dgm:spPr/>
    </dgm:pt>
    <dgm:pt modelId="{DFFECEBC-F605-45F1-8562-1778B72C7A20}" type="pres">
      <dgm:prSet presAssocID="{95020CAF-9298-4829-AC0B-B506C6572929}" presName="node" presStyleLbl="node1" presStyleIdx="0" presStyleCnt="2">
        <dgm:presLayoutVars>
          <dgm:bulletEnabled val="1"/>
        </dgm:presLayoutVars>
      </dgm:prSet>
      <dgm:spPr/>
    </dgm:pt>
    <dgm:pt modelId="{8AE56D5F-58D0-4E82-B318-482FF280E147}" type="pres">
      <dgm:prSet presAssocID="{95020CAF-9298-4829-AC0B-B506C6572929}" presName="invisiNode" presStyleLbl="node1" presStyleIdx="0" presStyleCnt="2"/>
      <dgm:spPr/>
    </dgm:pt>
    <dgm:pt modelId="{BDF3C3A0-D6C6-4E02-8157-5788C785642A}" type="pres">
      <dgm:prSet presAssocID="{95020CAF-9298-4829-AC0B-B506C6572929}" presName="imagNode" presStyleLbl="fgImgPlace1" presStyleIdx="0" presStyleCnt="2"/>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56" t="1298" r="-227" b="-47298"/>
          </a:stretch>
        </a:blipFill>
      </dgm:spPr>
    </dgm:pt>
    <dgm:pt modelId="{372652BC-DC8C-412D-8044-5F435A810B8E}" type="pres">
      <dgm:prSet presAssocID="{73F21DFF-757B-4C46-B55F-557831AE564A}" presName="sibTrans" presStyleLbl="sibTrans2D1" presStyleIdx="0" presStyleCnt="0"/>
      <dgm:spPr/>
    </dgm:pt>
    <dgm:pt modelId="{E7D45B4F-8303-49DD-8235-42A49A602D7C}" type="pres">
      <dgm:prSet presAssocID="{46EAEBAB-1BCF-4498-A44F-9023DEE61B43}" presName="compNode" presStyleCnt="0"/>
      <dgm:spPr/>
    </dgm:pt>
    <dgm:pt modelId="{23088773-29F6-4D2F-B998-42CE201C1D2D}" type="pres">
      <dgm:prSet presAssocID="{46EAEBAB-1BCF-4498-A44F-9023DEE61B43}" presName="node" presStyleLbl="node1" presStyleIdx="1" presStyleCnt="2">
        <dgm:presLayoutVars>
          <dgm:bulletEnabled val="1"/>
        </dgm:presLayoutVars>
      </dgm:prSet>
      <dgm:spPr/>
    </dgm:pt>
    <dgm:pt modelId="{BB108726-D485-4D8D-ABD5-048CFA9862B7}" type="pres">
      <dgm:prSet presAssocID="{46EAEBAB-1BCF-4498-A44F-9023DEE61B43}" presName="invisiNode" presStyleLbl="node1" presStyleIdx="1" presStyleCnt="2"/>
      <dgm:spPr/>
    </dgm:pt>
    <dgm:pt modelId="{D0DD52E7-C351-4BC5-B502-5A5DBDC65451}" type="pres">
      <dgm:prSet presAssocID="{46EAEBAB-1BCF-4498-A44F-9023DEE61B43}" presName="imagNode" presStyleLbl="fgImgPlace1" presStyleIdx="1" presStyleCnt="2"/>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l="-259" t="-1623" r="259" b="-42377"/>
          </a:stretch>
        </a:blipFill>
      </dgm:spPr>
    </dgm:pt>
  </dgm:ptLst>
  <dgm:cxnLst>
    <dgm:cxn modelId="{6E965534-EDAB-40B8-99B1-B6332A23E4E7}" type="presOf" srcId="{95020CAF-9298-4829-AC0B-B506C6572929}" destId="{DFFECEBC-F605-45F1-8562-1778B72C7A20}" srcOrd="0" destOrd="0" presId="urn:microsoft.com/office/officeart/2005/8/layout/pList2"/>
    <dgm:cxn modelId="{AF084B60-3CE0-4E67-AC70-774995E536E6}" srcId="{56D2F51B-3BC6-4CA4-B1DB-BBB987426252}" destId="{46EAEBAB-1BCF-4498-A44F-9023DEE61B43}" srcOrd="1" destOrd="0" parTransId="{E9805E15-025E-4265-BFEA-5832C6259FA0}" sibTransId="{F34D50C1-8577-4FB7-B71B-AD069BAC9278}"/>
    <dgm:cxn modelId="{A61B0663-47CB-45F3-AB40-6F48CEDA2BD7}" type="presOf" srcId="{46EAEBAB-1BCF-4498-A44F-9023DEE61B43}" destId="{23088773-29F6-4D2F-B998-42CE201C1D2D}" srcOrd="0" destOrd="0" presId="urn:microsoft.com/office/officeart/2005/8/layout/pList2"/>
    <dgm:cxn modelId="{F964766C-7C9C-422A-959C-6F96F1EF32CF}" type="presOf" srcId="{56D2F51B-3BC6-4CA4-B1DB-BBB987426252}" destId="{03BF083B-A669-4B85-8660-EE6C76BB50E4}" srcOrd="0" destOrd="0" presId="urn:microsoft.com/office/officeart/2005/8/layout/pList2"/>
    <dgm:cxn modelId="{7A0497B4-8444-4B5B-AC87-AA89D00859FF}" type="presOf" srcId="{73F21DFF-757B-4C46-B55F-557831AE564A}" destId="{372652BC-DC8C-412D-8044-5F435A810B8E}" srcOrd="0" destOrd="0" presId="urn:microsoft.com/office/officeart/2005/8/layout/pList2"/>
    <dgm:cxn modelId="{1DEA37F6-389D-45DE-91A9-F32AE9B3B7E6}" srcId="{56D2F51B-3BC6-4CA4-B1DB-BBB987426252}" destId="{95020CAF-9298-4829-AC0B-B506C6572929}" srcOrd="0" destOrd="0" parTransId="{072C7090-759F-46F5-B243-B224889AA15E}" sibTransId="{73F21DFF-757B-4C46-B55F-557831AE564A}"/>
    <dgm:cxn modelId="{5A20CF76-0816-4A34-93DB-0771EE47DBB4}" type="presParOf" srcId="{03BF083B-A669-4B85-8660-EE6C76BB50E4}" destId="{E5585F1D-8AAD-459C-924B-3BAA73EA1E3C}" srcOrd="0" destOrd="0" presId="urn:microsoft.com/office/officeart/2005/8/layout/pList2"/>
    <dgm:cxn modelId="{67A86B98-0C25-4967-BAAB-80C4BF38BD22}" type="presParOf" srcId="{03BF083B-A669-4B85-8660-EE6C76BB50E4}" destId="{901D9084-9BD2-4893-8B3F-CC9BE2795B89}" srcOrd="1" destOrd="0" presId="urn:microsoft.com/office/officeart/2005/8/layout/pList2"/>
    <dgm:cxn modelId="{13320FF6-53D0-4768-9CED-C24BDB4B5F64}" type="presParOf" srcId="{901D9084-9BD2-4893-8B3F-CC9BE2795B89}" destId="{0FC546EA-9111-4405-B8AB-E87BAF642365}" srcOrd="0" destOrd="0" presId="urn:microsoft.com/office/officeart/2005/8/layout/pList2"/>
    <dgm:cxn modelId="{0B2F1E67-29E4-42F0-864F-6893BAFA71B2}" type="presParOf" srcId="{0FC546EA-9111-4405-B8AB-E87BAF642365}" destId="{DFFECEBC-F605-45F1-8562-1778B72C7A20}" srcOrd="0" destOrd="0" presId="urn:microsoft.com/office/officeart/2005/8/layout/pList2"/>
    <dgm:cxn modelId="{30D59BBF-6414-4911-BBA9-404E79C1879A}" type="presParOf" srcId="{0FC546EA-9111-4405-B8AB-E87BAF642365}" destId="{8AE56D5F-58D0-4E82-B318-482FF280E147}" srcOrd="1" destOrd="0" presId="urn:microsoft.com/office/officeart/2005/8/layout/pList2"/>
    <dgm:cxn modelId="{3646D1C8-0124-4955-99AB-82ACC73BCCA7}" type="presParOf" srcId="{0FC546EA-9111-4405-B8AB-E87BAF642365}" destId="{BDF3C3A0-D6C6-4E02-8157-5788C785642A}" srcOrd="2" destOrd="0" presId="urn:microsoft.com/office/officeart/2005/8/layout/pList2"/>
    <dgm:cxn modelId="{95953D19-B4ED-43F9-B8F2-BDA75C6986FF}" type="presParOf" srcId="{901D9084-9BD2-4893-8B3F-CC9BE2795B89}" destId="{372652BC-DC8C-412D-8044-5F435A810B8E}" srcOrd="1" destOrd="0" presId="urn:microsoft.com/office/officeart/2005/8/layout/pList2"/>
    <dgm:cxn modelId="{7832A48F-B649-4905-A0D0-55BD6E65DB19}" type="presParOf" srcId="{901D9084-9BD2-4893-8B3F-CC9BE2795B89}" destId="{E7D45B4F-8303-49DD-8235-42A49A602D7C}" srcOrd="2" destOrd="0" presId="urn:microsoft.com/office/officeart/2005/8/layout/pList2"/>
    <dgm:cxn modelId="{69348A19-1F8A-4443-AB27-6B35219310ED}" type="presParOf" srcId="{E7D45B4F-8303-49DD-8235-42A49A602D7C}" destId="{23088773-29F6-4D2F-B998-42CE201C1D2D}" srcOrd="0" destOrd="0" presId="urn:microsoft.com/office/officeart/2005/8/layout/pList2"/>
    <dgm:cxn modelId="{A057F437-6206-4E00-B2A3-509A4B61E86A}" type="presParOf" srcId="{E7D45B4F-8303-49DD-8235-42A49A602D7C}" destId="{BB108726-D485-4D8D-ABD5-048CFA9862B7}" srcOrd="1" destOrd="0" presId="urn:microsoft.com/office/officeart/2005/8/layout/pList2"/>
    <dgm:cxn modelId="{BF925040-2087-48EE-A2C7-91BADD957D02}" type="presParOf" srcId="{E7D45B4F-8303-49DD-8235-42A49A602D7C}" destId="{D0DD52E7-C351-4BC5-B502-5A5DBDC65451}"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52542AA-41AF-4CAC-A874-76159F744CAD}" type="doc">
      <dgm:prSet loTypeId="urn:microsoft.com/office/officeart/2005/8/layout/pList2" loCatId="list" qsTypeId="urn:microsoft.com/office/officeart/2005/8/quickstyle/simple1" qsCatId="simple" csTypeId="urn:microsoft.com/office/officeart/2005/8/colors/accent1_2" csCatId="accent1" phldr="1"/>
      <dgm:spPr/>
    </dgm:pt>
    <dgm:pt modelId="{0AE4A5DD-FB49-4647-BCAC-AEEAE7E51791}">
      <dgm:prSet phldrT="[Text]"/>
      <dgm:spPr/>
      <dgm:t>
        <a:bodyPr/>
        <a:lstStyle/>
        <a:p>
          <a:r>
            <a:rPr lang="en-US" dirty="0">
              <a:latin typeface="+mj-lt"/>
            </a:rPr>
            <a:t>English</a:t>
          </a:r>
        </a:p>
      </dgm:t>
    </dgm:pt>
    <dgm:pt modelId="{0D025531-96FA-4939-A261-CDAF5A574790}" type="parTrans" cxnId="{91F79A6F-A628-491F-8CB2-86F778262137}">
      <dgm:prSet/>
      <dgm:spPr/>
      <dgm:t>
        <a:bodyPr/>
        <a:lstStyle/>
        <a:p>
          <a:endParaRPr lang="en-US"/>
        </a:p>
      </dgm:t>
    </dgm:pt>
    <dgm:pt modelId="{02111C45-B7EB-4286-9AB5-25039CB86E15}" type="sibTrans" cxnId="{91F79A6F-A628-491F-8CB2-86F778262137}">
      <dgm:prSet/>
      <dgm:spPr/>
      <dgm:t>
        <a:bodyPr/>
        <a:lstStyle/>
        <a:p>
          <a:endParaRPr lang="en-US"/>
        </a:p>
      </dgm:t>
    </dgm:pt>
    <dgm:pt modelId="{FEFC9C87-5C50-49BB-A02F-C04F9118B50A}">
      <dgm:prSet phldrT="[Text]" custT="1"/>
      <dgm:spPr/>
      <dgm:t>
        <a:bodyPr/>
        <a:lstStyle/>
        <a:p>
          <a:r>
            <a:rPr lang="en-US" sz="6500" dirty="0" err="1">
              <a:latin typeface="+mj-lt"/>
            </a:rPr>
            <a:t>Español</a:t>
          </a:r>
          <a:endParaRPr lang="en-US" sz="6500" dirty="0">
            <a:latin typeface="+mj-lt"/>
          </a:endParaRPr>
        </a:p>
      </dgm:t>
    </dgm:pt>
    <dgm:pt modelId="{1CFC9E98-D19F-4388-87CB-F369C801CE79}" type="parTrans" cxnId="{61ECBBF4-DC34-4FB2-B52E-BC4E0D600D08}">
      <dgm:prSet/>
      <dgm:spPr/>
      <dgm:t>
        <a:bodyPr/>
        <a:lstStyle/>
        <a:p>
          <a:endParaRPr lang="en-US"/>
        </a:p>
      </dgm:t>
    </dgm:pt>
    <dgm:pt modelId="{3616DDAE-06C9-4CDF-B580-D7E8A0D110B6}" type="sibTrans" cxnId="{61ECBBF4-DC34-4FB2-B52E-BC4E0D600D08}">
      <dgm:prSet/>
      <dgm:spPr/>
      <dgm:t>
        <a:bodyPr/>
        <a:lstStyle/>
        <a:p>
          <a:endParaRPr lang="en-US"/>
        </a:p>
      </dgm:t>
    </dgm:pt>
    <dgm:pt modelId="{D1518780-A071-4BF9-A46B-1C6E3513277C}" type="pres">
      <dgm:prSet presAssocID="{552542AA-41AF-4CAC-A874-76159F744CAD}" presName="Name0" presStyleCnt="0">
        <dgm:presLayoutVars>
          <dgm:dir/>
          <dgm:resizeHandles val="exact"/>
        </dgm:presLayoutVars>
      </dgm:prSet>
      <dgm:spPr/>
    </dgm:pt>
    <dgm:pt modelId="{ECB2A747-5CF8-41AD-B261-6CE42AAD4C64}" type="pres">
      <dgm:prSet presAssocID="{552542AA-41AF-4CAC-A874-76159F744CAD}" presName="bkgdShp" presStyleLbl="alignAccFollowNode1" presStyleIdx="0" presStyleCnt="1"/>
      <dgm:spPr/>
    </dgm:pt>
    <dgm:pt modelId="{F6214BB0-53C6-4E8D-81E5-F6E830490C98}" type="pres">
      <dgm:prSet presAssocID="{552542AA-41AF-4CAC-A874-76159F744CAD}" presName="linComp" presStyleCnt="0"/>
      <dgm:spPr/>
    </dgm:pt>
    <dgm:pt modelId="{53002075-F4D1-4E0C-88B9-299593109C50}" type="pres">
      <dgm:prSet presAssocID="{0AE4A5DD-FB49-4647-BCAC-AEEAE7E51791}" presName="compNode" presStyleCnt="0"/>
      <dgm:spPr/>
    </dgm:pt>
    <dgm:pt modelId="{42D4746E-9B73-4D2F-8B01-2CA1E456E2CE}" type="pres">
      <dgm:prSet presAssocID="{0AE4A5DD-FB49-4647-BCAC-AEEAE7E51791}" presName="node" presStyleLbl="node1" presStyleIdx="0" presStyleCnt="2">
        <dgm:presLayoutVars>
          <dgm:bulletEnabled val="1"/>
        </dgm:presLayoutVars>
      </dgm:prSet>
      <dgm:spPr/>
    </dgm:pt>
    <dgm:pt modelId="{75E456B9-872C-463F-AE57-05AAD79BE1C5}" type="pres">
      <dgm:prSet presAssocID="{0AE4A5DD-FB49-4647-BCAC-AEEAE7E51791}" presName="invisiNode" presStyleLbl="node1" presStyleIdx="0" presStyleCnt="2"/>
      <dgm:spPr/>
    </dgm:pt>
    <dgm:pt modelId="{41027E5C-122A-4463-BBA3-D1B5A2DF49D7}" type="pres">
      <dgm:prSet presAssocID="{0AE4A5DD-FB49-4647-BCAC-AEEAE7E51791}" presName="imagNode" presStyleLbl="fgImgPlace1" presStyleIdx="0" presStyleCnt="2"/>
      <dgm:spPr>
        <a:blipFill dpi="0" rotWithShape="1">
          <a:blip xmlns:r="http://schemas.openxmlformats.org/officeDocument/2006/relationships" r:embed="rId1"/>
          <a:srcRect/>
          <a:stretch>
            <a:fillRect l="-4045" t="838" r="45" b="-838"/>
          </a:stretch>
        </a:blipFill>
      </dgm:spPr>
    </dgm:pt>
    <dgm:pt modelId="{898A862F-D081-4E38-A1BE-267AA643B48D}" type="pres">
      <dgm:prSet presAssocID="{02111C45-B7EB-4286-9AB5-25039CB86E15}" presName="sibTrans" presStyleLbl="sibTrans2D1" presStyleIdx="0" presStyleCnt="0"/>
      <dgm:spPr/>
    </dgm:pt>
    <dgm:pt modelId="{44970EEA-F083-4446-8764-008E0F3D29DE}" type="pres">
      <dgm:prSet presAssocID="{FEFC9C87-5C50-49BB-A02F-C04F9118B50A}" presName="compNode" presStyleCnt="0"/>
      <dgm:spPr/>
    </dgm:pt>
    <dgm:pt modelId="{F366C5D4-1D35-44BE-ADB2-13E19657F39C}" type="pres">
      <dgm:prSet presAssocID="{FEFC9C87-5C50-49BB-A02F-C04F9118B50A}" presName="node" presStyleLbl="node1" presStyleIdx="1" presStyleCnt="2">
        <dgm:presLayoutVars>
          <dgm:bulletEnabled val="1"/>
        </dgm:presLayoutVars>
      </dgm:prSet>
      <dgm:spPr/>
    </dgm:pt>
    <dgm:pt modelId="{F265401D-F6B3-4896-A723-EF5FF79F14B1}" type="pres">
      <dgm:prSet presAssocID="{FEFC9C87-5C50-49BB-A02F-C04F9118B50A}" presName="invisiNode" presStyleLbl="node1" presStyleIdx="1" presStyleCnt="2"/>
      <dgm:spPr/>
    </dgm:pt>
    <dgm:pt modelId="{87713F6E-996C-4FD7-A770-BD4DC16F36BE}" type="pres">
      <dgm:prSet presAssocID="{FEFC9C87-5C50-49BB-A02F-C04F9118B50A}" presName="imagNode" presStyleLbl="fgImgPlace1" presStyleIdx="1" presStyleCnt="2"/>
      <dgm:spPr>
        <a:blipFill rotWithShape="1">
          <a:blip xmlns:r="http://schemas.openxmlformats.org/officeDocument/2006/relationships" r:embed="rId2"/>
          <a:srcRect/>
          <a:stretch>
            <a:fillRect t="-1000" b="-1000"/>
          </a:stretch>
        </a:blipFill>
      </dgm:spPr>
    </dgm:pt>
  </dgm:ptLst>
  <dgm:cxnLst>
    <dgm:cxn modelId="{503F6208-43A7-4AC7-917C-02E25AF7A4ED}" type="presOf" srcId="{FEFC9C87-5C50-49BB-A02F-C04F9118B50A}" destId="{F366C5D4-1D35-44BE-ADB2-13E19657F39C}" srcOrd="0" destOrd="0" presId="urn:microsoft.com/office/officeart/2005/8/layout/pList2"/>
    <dgm:cxn modelId="{E754A822-CC5C-4D08-837C-2EBFA59AB4D0}" type="presOf" srcId="{02111C45-B7EB-4286-9AB5-25039CB86E15}" destId="{898A862F-D081-4E38-A1BE-267AA643B48D}" srcOrd="0" destOrd="0" presId="urn:microsoft.com/office/officeart/2005/8/layout/pList2"/>
    <dgm:cxn modelId="{8A210641-9194-46FF-BFA7-CCC8507F28F9}" type="presOf" srcId="{552542AA-41AF-4CAC-A874-76159F744CAD}" destId="{D1518780-A071-4BF9-A46B-1C6E3513277C}" srcOrd="0" destOrd="0" presId="urn:microsoft.com/office/officeart/2005/8/layout/pList2"/>
    <dgm:cxn modelId="{91F79A6F-A628-491F-8CB2-86F778262137}" srcId="{552542AA-41AF-4CAC-A874-76159F744CAD}" destId="{0AE4A5DD-FB49-4647-BCAC-AEEAE7E51791}" srcOrd="0" destOrd="0" parTransId="{0D025531-96FA-4939-A261-CDAF5A574790}" sibTransId="{02111C45-B7EB-4286-9AB5-25039CB86E15}"/>
    <dgm:cxn modelId="{F1EEC0F3-B1F4-4D42-BC14-E917815977C2}" type="presOf" srcId="{0AE4A5DD-FB49-4647-BCAC-AEEAE7E51791}" destId="{42D4746E-9B73-4D2F-8B01-2CA1E456E2CE}" srcOrd="0" destOrd="0" presId="urn:microsoft.com/office/officeart/2005/8/layout/pList2"/>
    <dgm:cxn modelId="{61ECBBF4-DC34-4FB2-B52E-BC4E0D600D08}" srcId="{552542AA-41AF-4CAC-A874-76159F744CAD}" destId="{FEFC9C87-5C50-49BB-A02F-C04F9118B50A}" srcOrd="1" destOrd="0" parTransId="{1CFC9E98-D19F-4388-87CB-F369C801CE79}" sibTransId="{3616DDAE-06C9-4CDF-B580-D7E8A0D110B6}"/>
    <dgm:cxn modelId="{B69E2E67-0E61-4851-98C1-47520D829851}" type="presParOf" srcId="{D1518780-A071-4BF9-A46B-1C6E3513277C}" destId="{ECB2A747-5CF8-41AD-B261-6CE42AAD4C64}" srcOrd="0" destOrd="0" presId="urn:microsoft.com/office/officeart/2005/8/layout/pList2"/>
    <dgm:cxn modelId="{16B3DE08-EC28-4706-AEAB-D9B14034931A}" type="presParOf" srcId="{D1518780-A071-4BF9-A46B-1C6E3513277C}" destId="{F6214BB0-53C6-4E8D-81E5-F6E830490C98}" srcOrd="1" destOrd="0" presId="urn:microsoft.com/office/officeart/2005/8/layout/pList2"/>
    <dgm:cxn modelId="{15339BC1-F28D-4132-9C05-7F2C7FA339C2}" type="presParOf" srcId="{F6214BB0-53C6-4E8D-81E5-F6E830490C98}" destId="{53002075-F4D1-4E0C-88B9-299593109C50}" srcOrd="0" destOrd="0" presId="urn:microsoft.com/office/officeart/2005/8/layout/pList2"/>
    <dgm:cxn modelId="{93D99B1A-E659-4565-A1F0-F9CC0C8D4BAE}" type="presParOf" srcId="{53002075-F4D1-4E0C-88B9-299593109C50}" destId="{42D4746E-9B73-4D2F-8B01-2CA1E456E2CE}" srcOrd="0" destOrd="0" presId="urn:microsoft.com/office/officeart/2005/8/layout/pList2"/>
    <dgm:cxn modelId="{8ADB9A49-C3EC-43A1-B09A-88E2D64805CB}" type="presParOf" srcId="{53002075-F4D1-4E0C-88B9-299593109C50}" destId="{75E456B9-872C-463F-AE57-05AAD79BE1C5}" srcOrd="1" destOrd="0" presId="urn:microsoft.com/office/officeart/2005/8/layout/pList2"/>
    <dgm:cxn modelId="{21DC9D56-6095-4CFA-B21A-7BDB0CD8E7DF}" type="presParOf" srcId="{53002075-F4D1-4E0C-88B9-299593109C50}" destId="{41027E5C-122A-4463-BBA3-D1B5A2DF49D7}" srcOrd="2" destOrd="0" presId="urn:microsoft.com/office/officeart/2005/8/layout/pList2"/>
    <dgm:cxn modelId="{74F58F15-4B9B-4741-83A3-9F17FDE13ECF}" type="presParOf" srcId="{F6214BB0-53C6-4E8D-81E5-F6E830490C98}" destId="{898A862F-D081-4E38-A1BE-267AA643B48D}" srcOrd="1" destOrd="0" presId="urn:microsoft.com/office/officeart/2005/8/layout/pList2"/>
    <dgm:cxn modelId="{4D23F0D2-5E50-4967-8D86-59159EBA3764}" type="presParOf" srcId="{F6214BB0-53C6-4E8D-81E5-F6E830490C98}" destId="{44970EEA-F083-4446-8764-008E0F3D29DE}" srcOrd="2" destOrd="0" presId="urn:microsoft.com/office/officeart/2005/8/layout/pList2"/>
    <dgm:cxn modelId="{A69CD47D-8B00-4E88-81AA-90C50E380E34}" type="presParOf" srcId="{44970EEA-F083-4446-8764-008E0F3D29DE}" destId="{F366C5D4-1D35-44BE-ADB2-13E19657F39C}" srcOrd="0" destOrd="0" presId="urn:microsoft.com/office/officeart/2005/8/layout/pList2"/>
    <dgm:cxn modelId="{46971669-25A9-46B1-9C42-A723AFBBCF2F}" type="presParOf" srcId="{44970EEA-F083-4446-8764-008E0F3D29DE}" destId="{F265401D-F6B3-4896-A723-EF5FF79F14B1}" srcOrd="1" destOrd="0" presId="urn:microsoft.com/office/officeart/2005/8/layout/pList2"/>
    <dgm:cxn modelId="{B1B9902D-F6EB-4121-80B4-796B83CCA670}" type="presParOf" srcId="{44970EEA-F083-4446-8764-008E0F3D29DE}" destId="{87713F6E-996C-4FD7-A770-BD4DC16F36BE}"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CBA3AAB-0C5B-4AD6-A7BB-B1D47CC6DC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17CCE6-10EA-4737-B1B8-0DD2680CD46C}">
      <dgm:prSet phldrT="[Text]"/>
      <dgm:spPr/>
      <dgm:t>
        <a:bodyPr/>
        <a:lstStyle/>
        <a:p>
          <a:r>
            <a:rPr lang="en-US">
              <a:latin typeface="+mj-lt"/>
            </a:rPr>
            <a:t>Social Security Number</a:t>
          </a:r>
        </a:p>
      </dgm:t>
    </dgm:pt>
    <dgm:pt modelId="{BF090EEF-4641-4541-8A6E-9036DE57139E}" type="parTrans" cxnId="{15A913E9-6B8C-42C7-A0C2-44F0BF247349}">
      <dgm:prSet/>
      <dgm:spPr/>
      <dgm:t>
        <a:bodyPr/>
        <a:lstStyle/>
        <a:p>
          <a:endParaRPr lang="en-US"/>
        </a:p>
      </dgm:t>
    </dgm:pt>
    <dgm:pt modelId="{06D257AD-489A-482B-9BF7-EC7C03223587}" type="sibTrans" cxnId="{15A913E9-6B8C-42C7-A0C2-44F0BF247349}">
      <dgm:prSet/>
      <dgm:spPr/>
      <dgm:t>
        <a:bodyPr/>
        <a:lstStyle/>
        <a:p>
          <a:endParaRPr lang="en-US"/>
        </a:p>
      </dgm:t>
    </dgm:pt>
    <dgm:pt modelId="{19AE4D1A-0C9F-4AAA-B2CD-9417E602407D}">
      <dgm:prSet phldrT="[Text]"/>
      <dgm:spPr/>
      <dgm:t>
        <a:bodyPr/>
        <a:lstStyle/>
        <a:p>
          <a:r>
            <a:rPr lang="en-US">
              <a:latin typeface="+mj-lt"/>
            </a:rPr>
            <a:t>Their own mobile phone number and/or email address</a:t>
          </a:r>
        </a:p>
      </dgm:t>
    </dgm:pt>
    <dgm:pt modelId="{00B7C11A-CA7A-4DFF-98C2-E796FF3F1317}" type="parTrans" cxnId="{FB19CB48-85F7-4C9C-8CC7-827D2F8F7F20}">
      <dgm:prSet/>
      <dgm:spPr/>
      <dgm:t>
        <a:bodyPr/>
        <a:lstStyle/>
        <a:p>
          <a:endParaRPr lang="en-US"/>
        </a:p>
      </dgm:t>
    </dgm:pt>
    <dgm:pt modelId="{8A6554B7-2093-48B0-B162-0DFD59B5D838}" type="sibTrans" cxnId="{FB19CB48-85F7-4C9C-8CC7-827D2F8F7F20}">
      <dgm:prSet/>
      <dgm:spPr/>
      <dgm:t>
        <a:bodyPr/>
        <a:lstStyle/>
        <a:p>
          <a:endParaRPr lang="en-US"/>
        </a:p>
      </dgm:t>
    </dgm:pt>
    <dgm:pt modelId="{782B06A2-8081-4B88-9E83-698BD3E922C8}" type="pres">
      <dgm:prSet presAssocID="{9CBA3AAB-0C5B-4AD6-A7BB-B1D47CC6DC6E}" presName="diagram" presStyleCnt="0">
        <dgm:presLayoutVars>
          <dgm:dir/>
          <dgm:resizeHandles val="exact"/>
        </dgm:presLayoutVars>
      </dgm:prSet>
      <dgm:spPr/>
    </dgm:pt>
    <dgm:pt modelId="{BF255428-F888-48CF-BF2C-6C25816FFFA9}" type="pres">
      <dgm:prSet presAssocID="{4B17CCE6-10EA-4737-B1B8-0DD2680CD46C}" presName="node" presStyleLbl="node1" presStyleIdx="0" presStyleCnt="2">
        <dgm:presLayoutVars>
          <dgm:bulletEnabled val="1"/>
        </dgm:presLayoutVars>
      </dgm:prSet>
      <dgm:spPr/>
    </dgm:pt>
    <dgm:pt modelId="{1018A509-0956-44B7-8767-B1DE80676640}" type="pres">
      <dgm:prSet presAssocID="{06D257AD-489A-482B-9BF7-EC7C03223587}" presName="sibTrans" presStyleCnt="0"/>
      <dgm:spPr/>
    </dgm:pt>
    <dgm:pt modelId="{06D0A693-A051-4414-8496-B52164DA914F}" type="pres">
      <dgm:prSet presAssocID="{19AE4D1A-0C9F-4AAA-B2CD-9417E602407D}" presName="node" presStyleLbl="node1" presStyleIdx="1" presStyleCnt="2">
        <dgm:presLayoutVars>
          <dgm:bulletEnabled val="1"/>
        </dgm:presLayoutVars>
      </dgm:prSet>
      <dgm:spPr/>
    </dgm:pt>
  </dgm:ptLst>
  <dgm:cxnLst>
    <dgm:cxn modelId="{2E1BFC5B-B4D9-4241-BB28-50EC4406D89F}" type="presOf" srcId="{4B17CCE6-10EA-4737-B1B8-0DD2680CD46C}" destId="{BF255428-F888-48CF-BF2C-6C25816FFFA9}" srcOrd="0" destOrd="0" presId="urn:microsoft.com/office/officeart/2005/8/layout/default"/>
    <dgm:cxn modelId="{FB19CB48-85F7-4C9C-8CC7-827D2F8F7F20}" srcId="{9CBA3AAB-0C5B-4AD6-A7BB-B1D47CC6DC6E}" destId="{19AE4D1A-0C9F-4AAA-B2CD-9417E602407D}" srcOrd="1" destOrd="0" parTransId="{00B7C11A-CA7A-4DFF-98C2-E796FF3F1317}" sibTransId="{8A6554B7-2093-48B0-B162-0DFD59B5D838}"/>
    <dgm:cxn modelId="{BC514B59-D9FA-4150-8E00-921B80C55EFA}" type="presOf" srcId="{9CBA3AAB-0C5B-4AD6-A7BB-B1D47CC6DC6E}" destId="{782B06A2-8081-4B88-9E83-698BD3E922C8}" srcOrd="0" destOrd="0" presId="urn:microsoft.com/office/officeart/2005/8/layout/default"/>
    <dgm:cxn modelId="{F8B624D5-0F07-407F-A046-FF834A5ED5B1}" type="presOf" srcId="{19AE4D1A-0C9F-4AAA-B2CD-9417E602407D}" destId="{06D0A693-A051-4414-8496-B52164DA914F}" srcOrd="0" destOrd="0" presId="urn:microsoft.com/office/officeart/2005/8/layout/default"/>
    <dgm:cxn modelId="{15A913E9-6B8C-42C7-A0C2-44F0BF247349}" srcId="{9CBA3AAB-0C5B-4AD6-A7BB-B1D47CC6DC6E}" destId="{4B17CCE6-10EA-4737-B1B8-0DD2680CD46C}" srcOrd="0" destOrd="0" parTransId="{BF090EEF-4641-4541-8A6E-9036DE57139E}" sibTransId="{06D257AD-489A-482B-9BF7-EC7C03223587}"/>
    <dgm:cxn modelId="{36FA3BE0-F0F1-4976-B2D9-97E645ED54BC}" type="presParOf" srcId="{782B06A2-8081-4B88-9E83-698BD3E922C8}" destId="{BF255428-F888-48CF-BF2C-6C25816FFFA9}" srcOrd="0" destOrd="0" presId="urn:microsoft.com/office/officeart/2005/8/layout/default"/>
    <dgm:cxn modelId="{34F7B853-55BD-4391-8C47-77B227E314A8}" type="presParOf" srcId="{782B06A2-8081-4B88-9E83-698BD3E922C8}" destId="{1018A509-0956-44B7-8767-B1DE80676640}" srcOrd="1" destOrd="0" presId="urn:microsoft.com/office/officeart/2005/8/layout/default"/>
    <dgm:cxn modelId="{D3BEDCF2-E2AE-4819-AFE9-73A7453FB04E}" type="presParOf" srcId="{782B06A2-8081-4B88-9E83-698BD3E922C8}" destId="{06D0A693-A051-4414-8496-B52164DA914F}" srcOrd="2"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CBA3AAB-0C5B-4AD6-A7BB-B1D47CC6DC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9AE4D1A-0C9F-4AAA-B2CD-9417E602407D}">
      <dgm:prSet phldrT="[Text]"/>
      <dgm:spPr/>
      <dgm:t>
        <a:bodyPr/>
        <a:lstStyle/>
        <a:p>
          <a:r>
            <a:rPr lang="en-US" dirty="0">
              <a:latin typeface="+mj-lt"/>
            </a:rPr>
            <a:t>You will need your own email address</a:t>
          </a:r>
        </a:p>
      </dgm:t>
    </dgm:pt>
    <dgm:pt modelId="{00B7C11A-CA7A-4DFF-98C2-E796FF3F1317}" type="parTrans" cxnId="{FB19CB48-85F7-4C9C-8CC7-827D2F8F7F20}">
      <dgm:prSet/>
      <dgm:spPr/>
      <dgm:t>
        <a:bodyPr/>
        <a:lstStyle/>
        <a:p>
          <a:endParaRPr lang="en-US"/>
        </a:p>
      </dgm:t>
    </dgm:pt>
    <dgm:pt modelId="{8A6554B7-2093-48B0-B162-0DFD59B5D838}" type="sibTrans" cxnId="{FB19CB48-85F7-4C9C-8CC7-827D2F8F7F20}">
      <dgm:prSet/>
      <dgm:spPr/>
      <dgm:t>
        <a:bodyPr/>
        <a:lstStyle/>
        <a:p>
          <a:endParaRPr lang="en-US"/>
        </a:p>
      </dgm:t>
    </dgm:pt>
    <dgm:pt modelId="{631F7010-CED3-4B32-AC1E-5E065AA5E1FC}">
      <dgm:prSet phldrT="[Text]"/>
      <dgm:spPr/>
      <dgm:t>
        <a:bodyPr/>
        <a:lstStyle/>
        <a:p>
          <a:r>
            <a:rPr lang="en-US" dirty="0">
              <a:latin typeface="+mj-lt"/>
            </a:rPr>
            <a:t>The WASFA is available in English and Spanish</a:t>
          </a:r>
        </a:p>
      </dgm:t>
    </dgm:pt>
    <dgm:pt modelId="{1BDF4FFB-536E-4276-89D1-C00300D6D841}" type="parTrans" cxnId="{4C43A2AB-6C1C-457D-8D48-7E27C2F48829}">
      <dgm:prSet/>
      <dgm:spPr/>
      <dgm:t>
        <a:bodyPr/>
        <a:lstStyle/>
        <a:p>
          <a:endParaRPr lang="en-US"/>
        </a:p>
      </dgm:t>
    </dgm:pt>
    <dgm:pt modelId="{6DD34E6D-BC01-4D63-9444-5135A606E431}" type="sibTrans" cxnId="{4C43A2AB-6C1C-457D-8D48-7E27C2F48829}">
      <dgm:prSet/>
      <dgm:spPr/>
      <dgm:t>
        <a:bodyPr/>
        <a:lstStyle/>
        <a:p>
          <a:endParaRPr lang="en-US"/>
        </a:p>
      </dgm:t>
    </dgm:pt>
    <dgm:pt modelId="{9AE19A7A-AB73-499D-B80D-1702DADC2188}">
      <dgm:prSet phldrT="[Text]"/>
      <dgm:spPr/>
      <dgm:t>
        <a:bodyPr/>
        <a:lstStyle/>
        <a:p>
          <a:r>
            <a:rPr lang="en-US" dirty="0">
              <a:latin typeface="+mj-lt"/>
            </a:rPr>
            <a:t>You will need internet access</a:t>
          </a:r>
        </a:p>
      </dgm:t>
    </dgm:pt>
    <dgm:pt modelId="{850A9C2C-ED96-4857-83EE-0E911ECD028D}" type="parTrans" cxnId="{91415022-F100-4BB6-B14F-CD067A3178C3}">
      <dgm:prSet/>
      <dgm:spPr/>
      <dgm:t>
        <a:bodyPr/>
        <a:lstStyle/>
        <a:p>
          <a:endParaRPr lang="en-US"/>
        </a:p>
      </dgm:t>
    </dgm:pt>
    <dgm:pt modelId="{9C3CA09F-852E-41AC-A99D-B0B0C3BBB0D3}" type="sibTrans" cxnId="{91415022-F100-4BB6-B14F-CD067A3178C3}">
      <dgm:prSet/>
      <dgm:spPr/>
      <dgm:t>
        <a:bodyPr/>
        <a:lstStyle/>
        <a:p>
          <a:endParaRPr lang="en-US"/>
        </a:p>
      </dgm:t>
    </dgm:pt>
    <dgm:pt modelId="{782B06A2-8081-4B88-9E83-698BD3E922C8}" type="pres">
      <dgm:prSet presAssocID="{9CBA3AAB-0C5B-4AD6-A7BB-B1D47CC6DC6E}" presName="diagram" presStyleCnt="0">
        <dgm:presLayoutVars>
          <dgm:dir/>
          <dgm:resizeHandles val="exact"/>
        </dgm:presLayoutVars>
      </dgm:prSet>
      <dgm:spPr/>
    </dgm:pt>
    <dgm:pt modelId="{06D0A693-A051-4414-8496-B52164DA914F}" type="pres">
      <dgm:prSet presAssocID="{19AE4D1A-0C9F-4AAA-B2CD-9417E602407D}" presName="node" presStyleLbl="node1" presStyleIdx="0" presStyleCnt="3">
        <dgm:presLayoutVars>
          <dgm:bulletEnabled val="1"/>
        </dgm:presLayoutVars>
      </dgm:prSet>
      <dgm:spPr/>
    </dgm:pt>
    <dgm:pt modelId="{A2236BA4-0DA1-45CA-84F0-3367C78A01EF}" type="pres">
      <dgm:prSet presAssocID="{8A6554B7-2093-48B0-B162-0DFD59B5D838}" presName="sibTrans" presStyleCnt="0"/>
      <dgm:spPr/>
    </dgm:pt>
    <dgm:pt modelId="{6A19E8F0-35C1-4384-A1A4-DAD9A3F4ECE2}" type="pres">
      <dgm:prSet presAssocID="{631F7010-CED3-4B32-AC1E-5E065AA5E1FC}" presName="node" presStyleLbl="node1" presStyleIdx="1" presStyleCnt="3">
        <dgm:presLayoutVars>
          <dgm:bulletEnabled val="1"/>
        </dgm:presLayoutVars>
      </dgm:prSet>
      <dgm:spPr/>
    </dgm:pt>
    <dgm:pt modelId="{D13C04BC-EE44-492A-97FE-D524DE596683}" type="pres">
      <dgm:prSet presAssocID="{6DD34E6D-BC01-4D63-9444-5135A606E431}" presName="sibTrans" presStyleCnt="0"/>
      <dgm:spPr/>
    </dgm:pt>
    <dgm:pt modelId="{8005E11E-08E3-4868-A6C9-F4B962A0FA44}" type="pres">
      <dgm:prSet presAssocID="{9AE19A7A-AB73-499D-B80D-1702DADC2188}" presName="node" presStyleLbl="node1" presStyleIdx="2" presStyleCnt="3">
        <dgm:presLayoutVars>
          <dgm:bulletEnabled val="1"/>
        </dgm:presLayoutVars>
      </dgm:prSet>
      <dgm:spPr/>
    </dgm:pt>
  </dgm:ptLst>
  <dgm:cxnLst>
    <dgm:cxn modelId="{EA24E706-956C-4FA2-86CE-38060682762F}" type="presOf" srcId="{631F7010-CED3-4B32-AC1E-5E065AA5E1FC}" destId="{6A19E8F0-35C1-4384-A1A4-DAD9A3F4ECE2}" srcOrd="0" destOrd="0" presId="urn:microsoft.com/office/officeart/2005/8/layout/default"/>
    <dgm:cxn modelId="{91415022-F100-4BB6-B14F-CD067A3178C3}" srcId="{9CBA3AAB-0C5B-4AD6-A7BB-B1D47CC6DC6E}" destId="{9AE19A7A-AB73-499D-B80D-1702DADC2188}" srcOrd="2" destOrd="0" parTransId="{850A9C2C-ED96-4857-83EE-0E911ECD028D}" sibTransId="{9C3CA09F-852E-41AC-A99D-B0B0C3BBB0D3}"/>
    <dgm:cxn modelId="{FB19CB48-85F7-4C9C-8CC7-827D2F8F7F20}" srcId="{9CBA3AAB-0C5B-4AD6-A7BB-B1D47CC6DC6E}" destId="{19AE4D1A-0C9F-4AAA-B2CD-9417E602407D}" srcOrd="0" destOrd="0" parTransId="{00B7C11A-CA7A-4DFF-98C2-E796FF3F1317}" sibTransId="{8A6554B7-2093-48B0-B162-0DFD59B5D838}"/>
    <dgm:cxn modelId="{51F1EE71-5E3F-4EF3-8F51-E497BFA1BBC8}" type="presOf" srcId="{9AE19A7A-AB73-499D-B80D-1702DADC2188}" destId="{8005E11E-08E3-4868-A6C9-F4B962A0FA44}" srcOrd="0" destOrd="0" presId="urn:microsoft.com/office/officeart/2005/8/layout/default"/>
    <dgm:cxn modelId="{BC514B59-D9FA-4150-8E00-921B80C55EFA}" type="presOf" srcId="{9CBA3AAB-0C5B-4AD6-A7BB-B1D47CC6DC6E}" destId="{782B06A2-8081-4B88-9E83-698BD3E922C8}" srcOrd="0" destOrd="0" presId="urn:microsoft.com/office/officeart/2005/8/layout/default"/>
    <dgm:cxn modelId="{4C43A2AB-6C1C-457D-8D48-7E27C2F48829}" srcId="{9CBA3AAB-0C5B-4AD6-A7BB-B1D47CC6DC6E}" destId="{631F7010-CED3-4B32-AC1E-5E065AA5E1FC}" srcOrd="1" destOrd="0" parTransId="{1BDF4FFB-536E-4276-89D1-C00300D6D841}" sibTransId="{6DD34E6D-BC01-4D63-9444-5135A606E431}"/>
    <dgm:cxn modelId="{F8B624D5-0F07-407F-A046-FF834A5ED5B1}" type="presOf" srcId="{19AE4D1A-0C9F-4AAA-B2CD-9417E602407D}" destId="{06D0A693-A051-4414-8496-B52164DA914F}" srcOrd="0" destOrd="0" presId="urn:microsoft.com/office/officeart/2005/8/layout/default"/>
    <dgm:cxn modelId="{D3BEDCF2-E2AE-4819-AFE9-73A7453FB04E}" type="presParOf" srcId="{782B06A2-8081-4B88-9E83-698BD3E922C8}" destId="{06D0A693-A051-4414-8496-B52164DA914F}" srcOrd="0" destOrd="0" presId="urn:microsoft.com/office/officeart/2005/8/layout/default"/>
    <dgm:cxn modelId="{60E18C77-3D5D-4152-A579-71E4326614E7}" type="presParOf" srcId="{782B06A2-8081-4B88-9E83-698BD3E922C8}" destId="{A2236BA4-0DA1-45CA-84F0-3367C78A01EF}" srcOrd="1" destOrd="0" presId="urn:microsoft.com/office/officeart/2005/8/layout/default"/>
    <dgm:cxn modelId="{1CDDD6E4-EA49-4865-955B-26E0BB280440}" type="presParOf" srcId="{782B06A2-8081-4B88-9E83-698BD3E922C8}" destId="{6A19E8F0-35C1-4384-A1A4-DAD9A3F4ECE2}" srcOrd="2" destOrd="0" presId="urn:microsoft.com/office/officeart/2005/8/layout/default"/>
    <dgm:cxn modelId="{33302814-15C4-42E9-BA27-07D2C7D32DF3}" type="presParOf" srcId="{782B06A2-8081-4B88-9E83-698BD3E922C8}" destId="{D13C04BC-EE44-492A-97FE-D524DE596683}" srcOrd="3" destOrd="0" presId="urn:microsoft.com/office/officeart/2005/8/layout/default"/>
    <dgm:cxn modelId="{477FDB40-7FB0-4DEA-A11E-12E18324FAD3}" type="presParOf" srcId="{782B06A2-8081-4B88-9E83-698BD3E922C8}" destId="{8005E11E-08E3-4868-A6C9-F4B962A0FA44}" srcOrd="4"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DE0015D-AEB8-4AF2-A087-BBEBA70AD66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AEA5284-CD68-4AC9-B424-17E626515C2E}">
      <dgm:prSet phldrT="[Text]" custT="1"/>
      <dgm:spPr/>
      <dgm:t>
        <a:bodyPr/>
        <a:lstStyle/>
        <a:p>
          <a:pPr>
            <a:buNone/>
          </a:pPr>
          <a:r>
            <a:rPr lang="en-US" sz="2800" dirty="0">
              <a:latin typeface="+mj-lt"/>
            </a:rPr>
            <a:t>Your driver’s license or state ID. (If you have one)</a:t>
          </a:r>
        </a:p>
      </dgm:t>
    </dgm:pt>
    <dgm:pt modelId="{5FA54A62-5404-4622-AAC8-3506A8EA8EB3}" type="parTrans" cxnId="{B6381EA6-CA16-4244-A2DC-599E436D5749}">
      <dgm:prSet/>
      <dgm:spPr/>
      <dgm:t>
        <a:bodyPr/>
        <a:lstStyle/>
        <a:p>
          <a:endParaRPr lang="en-US"/>
        </a:p>
      </dgm:t>
    </dgm:pt>
    <dgm:pt modelId="{F33B0175-05AA-4C15-8900-62A081DB14B7}" type="sibTrans" cxnId="{B6381EA6-CA16-4244-A2DC-599E436D5749}">
      <dgm:prSet/>
      <dgm:spPr/>
      <dgm:t>
        <a:bodyPr/>
        <a:lstStyle/>
        <a:p>
          <a:endParaRPr lang="en-US"/>
        </a:p>
      </dgm:t>
    </dgm:pt>
    <dgm:pt modelId="{ECE71C09-084A-41B3-86A7-9B8948FF52AA}">
      <dgm:prSet custT="1"/>
      <dgm:spPr/>
      <dgm:t>
        <a:bodyPr/>
        <a:lstStyle/>
        <a:p>
          <a:r>
            <a:rPr lang="en-US" sz="2800" dirty="0">
              <a:latin typeface="+mj-lt"/>
            </a:rPr>
            <a:t>Your income information</a:t>
          </a:r>
        </a:p>
      </dgm:t>
    </dgm:pt>
    <dgm:pt modelId="{F9A0390B-EDF9-42A0-8EB6-18A87FF19FBF}" type="parTrans" cxnId="{8E90F2A1-FE95-4CFD-97FA-1B1A6F728357}">
      <dgm:prSet/>
      <dgm:spPr/>
      <dgm:t>
        <a:bodyPr/>
        <a:lstStyle/>
        <a:p>
          <a:endParaRPr lang="en-US"/>
        </a:p>
      </dgm:t>
    </dgm:pt>
    <dgm:pt modelId="{CF3D6359-92B0-4644-BDF3-72158C2F0F36}" type="sibTrans" cxnId="{8E90F2A1-FE95-4CFD-97FA-1B1A6F728357}">
      <dgm:prSet/>
      <dgm:spPr/>
      <dgm:t>
        <a:bodyPr/>
        <a:lstStyle/>
        <a:p>
          <a:endParaRPr lang="en-US"/>
        </a:p>
      </dgm:t>
    </dgm:pt>
    <dgm:pt modelId="{9CA94CBB-D31B-4B26-A356-5E904C7805E8}">
      <dgm:prSet custT="1"/>
      <dgm:spPr/>
      <dgm:t>
        <a:bodyPr/>
        <a:lstStyle/>
        <a:p>
          <a:r>
            <a:rPr lang="en-US" sz="2800" dirty="0">
              <a:latin typeface="+mj-lt"/>
            </a:rPr>
            <a:t>Your parent most likely will need to provide information, if you are 24 or younger. </a:t>
          </a:r>
        </a:p>
      </dgm:t>
    </dgm:pt>
    <dgm:pt modelId="{1029C2DC-9F41-48A4-BA8B-4DFF5610F05C}" type="parTrans" cxnId="{9AE6FDC1-F816-40EB-B1CD-2F005E55E337}">
      <dgm:prSet/>
      <dgm:spPr/>
      <dgm:t>
        <a:bodyPr/>
        <a:lstStyle/>
        <a:p>
          <a:endParaRPr lang="en-US"/>
        </a:p>
      </dgm:t>
    </dgm:pt>
    <dgm:pt modelId="{DCE97002-B5AF-4EB2-A6CB-346D2046217D}" type="sibTrans" cxnId="{9AE6FDC1-F816-40EB-B1CD-2F005E55E337}">
      <dgm:prSet/>
      <dgm:spPr/>
      <dgm:t>
        <a:bodyPr/>
        <a:lstStyle/>
        <a:p>
          <a:endParaRPr lang="en-US"/>
        </a:p>
      </dgm:t>
    </dgm:pt>
    <dgm:pt modelId="{FD73BE17-8E1F-4990-ABEA-D0E4A2F68687}">
      <dgm:prSet custT="1"/>
      <dgm:spPr/>
      <dgm:t>
        <a:bodyPr/>
        <a:lstStyle/>
        <a:p>
          <a:r>
            <a:rPr lang="en-US" sz="2800" dirty="0">
              <a:latin typeface="+mj-lt"/>
            </a:rPr>
            <a:t>FAFSA Filers Should Also Have Access to: </a:t>
          </a:r>
        </a:p>
      </dgm:t>
    </dgm:pt>
    <dgm:pt modelId="{BEC4E421-58F4-4E24-9853-857B446AD00A}" type="parTrans" cxnId="{7CAC6757-F963-4773-BD6C-29D3B470DF18}">
      <dgm:prSet/>
      <dgm:spPr/>
      <dgm:t>
        <a:bodyPr/>
        <a:lstStyle/>
        <a:p>
          <a:endParaRPr lang="en-US"/>
        </a:p>
      </dgm:t>
    </dgm:pt>
    <dgm:pt modelId="{4FA8B6D8-0DD8-4DAF-92B0-15A8D9C4343F}" type="sibTrans" cxnId="{7CAC6757-F963-4773-BD6C-29D3B470DF18}">
      <dgm:prSet/>
      <dgm:spPr/>
      <dgm:t>
        <a:bodyPr/>
        <a:lstStyle/>
        <a:p>
          <a:endParaRPr lang="en-US"/>
        </a:p>
      </dgm:t>
    </dgm:pt>
    <dgm:pt modelId="{AE7D3C88-10B1-46D7-BEB4-CCD899418796}">
      <dgm:prSet custT="1"/>
      <dgm:spPr/>
      <dgm:t>
        <a:bodyPr/>
        <a:lstStyle/>
        <a:p>
          <a:r>
            <a:rPr lang="en-US" sz="2400" dirty="0">
              <a:latin typeface="+mj-lt"/>
            </a:rPr>
            <a:t>Your Social Security Card or green card. </a:t>
          </a:r>
        </a:p>
      </dgm:t>
    </dgm:pt>
    <dgm:pt modelId="{BF3490C4-B20E-40B1-A093-52B7AEF06E31}" type="parTrans" cxnId="{CB4FD573-BB8B-42A9-B982-CA64CBCFA0FC}">
      <dgm:prSet/>
      <dgm:spPr/>
      <dgm:t>
        <a:bodyPr/>
        <a:lstStyle/>
        <a:p>
          <a:endParaRPr lang="en-US"/>
        </a:p>
      </dgm:t>
    </dgm:pt>
    <dgm:pt modelId="{D889C2D2-907A-4AB0-AE64-4DDA509F534D}" type="sibTrans" cxnId="{CB4FD573-BB8B-42A9-B982-CA64CBCFA0FC}">
      <dgm:prSet/>
      <dgm:spPr/>
      <dgm:t>
        <a:bodyPr/>
        <a:lstStyle/>
        <a:p>
          <a:endParaRPr lang="en-US"/>
        </a:p>
      </dgm:t>
    </dgm:pt>
    <dgm:pt modelId="{A2083314-0B4D-4A10-B655-C31D2F88FBC2}">
      <dgm:prSet custT="1"/>
      <dgm:spPr/>
      <dgm:t>
        <a:bodyPr/>
        <a:lstStyle/>
        <a:p>
          <a:r>
            <a:rPr lang="en-US" sz="2400" dirty="0">
              <a:latin typeface="+mj-lt"/>
            </a:rPr>
            <a:t>Parent’s Social Security Number (if they have one).</a:t>
          </a:r>
        </a:p>
      </dgm:t>
    </dgm:pt>
    <dgm:pt modelId="{29D7DC1F-0258-4723-B80C-3FE0CB086696}" type="parTrans" cxnId="{40B45EBE-8932-43F1-AB19-F3B053E72BB7}">
      <dgm:prSet/>
      <dgm:spPr/>
      <dgm:t>
        <a:bodyPr/>
        <a:lstStyle/>
        <a:p>
          <a:endParaRPr lang="en-US"/>
        </a:p>
      </dgm:t>
    </dgm:pt>
    <dgm:pt modelId="{6D17ACF9-B4F7-401E-8A0D-F59071C8BE66}" type="sibTrans" cxnId="{40B45EBE-8932-43F1-AB19-F3B053E72BB7}">
      <dgm:prSet/>
      <dgm:spPr/>
      <dgm:t>
        <a:bodyPr/>
        <a:lstStyle/>
        <a:p>
          <a:endParaRPr lang="en-US"/>
        </a:p>
      </dgm:t>
    </dgm:pt>
    <dgm:pt modelId="{3E0EA668-7CCA-4245-9C64-488CD0BC5D11}">
      <dgm:prSet custT="1"/>
      <dgm:spPr/>
      <dgm:t>
        <a:bodyPr/>
        <a:lstStyle/>
        <a:p>
          <a:r>
            <a:rPr lang="en-US" sz="2400" dirty="0">
              <a:latin typeface="+mj-lt"/>
            </a:rPr>
            <a:t>This includes bank statements, a W-2 or pay stub, and a 2022 tax return if applicable.</a:t>
          </a:r>
        </a:p>
      </dgm:t>
    </dgm:pt>
    <dgm:pt modelId="{60A7EA1C-7225-4BCA-B6D8-0481C2626CA9}" type="parTrans" cxnId="{D37A00C4-AA9F-4ED5-86AD-EC06C0D411AF}">
      <dgm:prSet/>
      <dgm:spPr/>
      <dgm:t>
        <a:bodyPr/>
        <a:lstStyle/>
        <a:p>
          <a:endParaRPr lang="en-US"/>
        </a:p>
      </dgm:t>
    </dgm:pt>
    <dgm:pt modelId="{939F10C4-CCC2-4B04-867A-AF1F4C04D21C}" type="sibTrans" cxnId="{D37A00C4-AA9F-4ED5-86AD-EC06C0D411AF}">
      <dgm:prSet/>
      <dgm:spPr/>
      <dgm:t>
        <a:bodyPr/>
        <a:lstStyle/>
        <a:p>
          <a:endParaRPr lang="en-US"/>
        </a:p>
      </dgm:t>
    </dgm:pt>
    <dgm:pt modelId="{015D2F01-2D7C-40CF-A544-B7997840A0E1}">
      <dgm:prSet custT="1"/>
      <dgm:spPr/>
      <dgm:t>
        <a:bodyPr/>
        <a:lstStyle/>
        <a:p>
          <a:r>
            <a:rPr lang="en-US" sz="2400" dirty="0">
              <a:latin typeface="+mj-lt"/>
            </a:rPr>
            <a:t>This includes bank statements, child support statements, W-2 or pay stubs, and a 2022 tax return if applicable.</a:t>
          </a:r>
        </a:p>
      </dgm:t>
    </dgm:pt>
    <dgm:pt modelId="{48988485-25B2-4328-8EA5-434E6DB2A377}" type="parTrans" cxnId="{FAD8FFF3-3633-49DC-9D10-BC13CA1B900A}">
      <dgm:prSet/>
      <dgm:spPr/>
      <dgm:t>
        <a:bodyPr/>
        <a:lstStyle/>
        <a:p>
          <a:endParaRPr lang="en-US"/>
        </a:p>
      </dgm:t>
    </dgm:pt>
    <dgm:pt modelId="{23ADABC5-E7B3-4D65-9EC5-463AC2532DEE}" type="sibTrans" cxnId="{FAD8FFF3-3633-49DC-9D10-BC13CA1B900A}">
      <dgm:prSet/>
      <dgm:spPr/>
      <dgm:t>
        <a:bodyPr/>
        <a:lstStyle/>
        <a:p>
          <a:endParaRPr lang="en-US"/>
        </a:p>
      </dgm:t>
    </dgm:pt>
    <dgm:pt modelId="{1F101F2E-9CD8-4863-8208-F30C62AA1481}">
      <dgm:prSet custT="1"/>
      <dgm:spPr/>
      <dgm:t>
        <a:bodyPr/>
        <a:lstStyle/>
        <a:p>
          <a:r>
            <a:rPr lang="en-US" sz="2400" dirty="0">
              <a:latin typeface="+mj-lt"/>
            </a:rPr>
            <a:t>Your FSA ID and your parent(s) will also need to create an FSA ID.</a:t>
          </a:r>
        </a:p>
      </dgm:t>
    </dgm:pt>
    <dgm:pt modelId="{BD654B07-BAC9-4351-91BA-DEF874E34CD3}" type="parTrans" cxnId="{9E551C26-99BE-4348-A3E9-C8485BCFAB97}">
      <dgm:prSet/>
      <dgm:spPr/>
      <dgm:t>
        <a:bodyPr/>
        <a:lstStyle/>
        <a:p>
          <a:endParaRPr lang="en-US"/>
        </a:p>
      </dgm:t>
    </dgm:pt>
    <dgm:pt modelId="{D914CEA5-FC28-4092-9B2A-66AC97EA213B}" type="sibTrans" cxnId="{9E551C26-99BE-4348-A3E9-C8485BCFAB97}">
      <dgm:prSet/>
      <dgm:spPr/>
      <dgm:t>
        <a:bodyPr/>
        <a:lstStyle/>
        <a:p>
          <a:endParaRPr lang="en-US"/>
        </a:p>
      </dgm:t>
    </dgm:pt>
    <dgm:pt modelId="{7A52F03B-31B6-4B2F-8537-1D9D009C0EF5}" type="pres">
      <dgm:prSet presAssocID="{5DE0015D-AEB8-4AF2-A087-BBEBA70AD66B}" presName="linear" presStyleCnt="0">
        <dgm:presLayoutVars>
          <dgm:animLvl val="lvl"/>
          <dgm:resizeHandles val="exact"/>
        </dgm:presLayoutVars>
      </dgm:prSet>
      <dgm:spPr/>
    </dgm:pt>
    <dgm:pt modelId="{993CD1AD-158A-4C39-AECB-B1F1A112361C}" type="pres">
      <dgm:prSet presAssocID="{1AEA5284-CD68-4AC9-B424-17E626515C2E}" presName="parentText" presStyleLbl="node1" presStyleIdx="0" presStyleCnt="4" custScaleY="57560">
        <dgm:presLayoutVars>
          <dgm:chMax val="0"/>
          <dgm:bulletEnabled val="1"/>
        </dgm:presLayoutVars>
      </dgm:prSet>
      <dgm:spPr/>
    </dgm:pt>
    <dgm:pt modelId="{7555DBBA-A22E-47EA-BFC0-AEF1052DE725}" type="pres">
      <dgm:prSet presAssocID="{F33B0175-05AA-4C15-8900-62A081DB14B7}" presName="spacer" presStyleCnt="0"/>
      <dgm:spPr/>
    </dgm:pt>
    <dgm:pt modelId="{FDF70A32-6E3E-4ACC-AD26-AA38C8657881}" type="pres">
      <dgm:prSet presAssocID="{ECE71C09-084A-41B3-86A7-9B8948FF52AA}" presName="parentText" presStyleLbl="node1" presStyleIdx="1" presStyleCnt="4" custScaleY="53489">
        <dgm:presLayoutVars>
          <dgm:chMax val="0"/>
          <dgm:bulletEnabled val="1"/>
        </dgm:presLayoutVars>
      </dgm:prSet>
      <dgm:spPr/>
    </dgm:pt>
    <dgm:pt modelId="{DC49D098-172A-43A4-8A6E-1BE9F151DFC7}" type="pres">
      <dgm:prSet presAssocID="{ECE71C09-084A-41B3-86A7-9B8948FF52AA}" presName="childText" presStyleLbl="revTx" presStyleIdx="0" presStyleCnt="3">
        <dgm:presLayoutVars>
          <dgm:bulletEnabled val="1"/>
        </dgm:presLayoutVars>
      </dgm:prSet>
      <dgm:spPr/>
    </dgm:pt>
    <dgm:pt modelId="{52A85D97-90FE-4AC5-8263-9B3C62782FC4}" type="pres">
      <dgm:prSet presAssocID="{9CA94CBB-D31B-4B26-A356-5E904C7805E8}" presName="parentText" presStyleLbl="node1" presStyleIdx="2" presStyleCnt="4">
        <dgm:presLayoutVars>
          <dgm:chMax val="0"/>
          <dgm:bulletEnabled val="1"/>
        </dgm:presLayoutVars>
      </dgm:prSet>
      <dgm:spPr/>
    </dgm:pt>
    <dgm:pt modelId="{79C8AD4F-4F73-4D39-A805-08CB8B5F908A}" type="pres">
      <dgm:prSet presAssocID="{9CA94CBB-D31B-4B26-A356-5E904C7805E8}" presName="childText" presStyleLbl="revTx" presStyleIdx="1" presStyleCnt="3">
        <dgm:presLayoutVars>
          <dgm:bulletEnabled val="1"/>
        </dgm:presLayoutVars>
      </dgm:prSet>
      <dgm:spPr/>
    </dgm:pt>
    <dgm:pt modelId="{57EEA118-2B00-4662-862F-C82E930C0746}" type="pres">
      <dgm:prSet presAssocID="{FD73BE17-8E1F-4990-ABEA-D0E4A2F68687}" presName="parentText" presStyleLbl="node1" presStyleIdx="3" presStyleCnt="4" custScaleY="57108">
        <dgm:presLayoutVars>
          <dgm:chMax val="0"/>
          <dgm:bulletEnabled val="1"/>
        </dgm:presLayoutVars>
      </dgm:prSet>
      <dgm:spPr/>
    </dgm:pt>
    <dgm:pt modelId="{73FA54F6-54FF-4EBD-B291-1E77DBBCAE3D}" type="pres">
      <dgm:prSet presAssocID="{FD73BE17-8E1F-4990-ABEA-D0E4A2F68687}" presName="childText" presStyleLbl="revTx" presStyleIdx="2" presStyleCnt="3">
        <dgm:presLayoutVars>
          <dgm:bulletEnabled val="1"/>
        </dgm:presLayoutVars>
      </dgm:prSet>
      <dgm:spPr/>
    </dgm:pt>
  </dgm:ptLst>
  <dgm:cxnLst>
    <dgm:cxn modelId="{D1DED304-6352-4E6A-BBF4-A5B60EF2BC7A}" type="presOf" srcId="{FD73BE17-8E1F-4990-ABEA-D0E4A2F68687}" destId="{57EEA118-2B00-4662-862F-C82E930C0746}" srcOrd="0" destOrd="0" presId="urn:microsoft.com/office/officeart/2005/8/layout/vList2"/>
    <dgm:cxn modelId="{1D67220E-96DE-47B1-A4AB-3BC59D9EBD43}" type="presOf" srcId="{015D2F01-2D7C-40CF-A544-B7997840A0E1}" destId="{79C8AD4F-4F73-4D39-A805-08CB8B5F908A}" srcOrd="0" destOrd="0" presId="urn:microsoft.com/office/officeart/2005/8/layout/vList2"/>
    <dgm:cxn modelId="{3BC19E12-6F9F-4952-B7DA-8A32EF26BD85}" type="presOf" srcId="{AE7D3C88-10B1-46D7-BEB4-CCD899418796}" destId="{73FA54F6-54FF-4EBD-B291-1E77DBBCAE3D}" srcOrd="0" destOrd="1" presId="urn:microsoft.com/office/officeart/2005/8/layout/vList2"/>
    <dgm:cxn modelId="{9E551C26-99BE-4348-A3E9-C8485BCFAB97}" srcId="{FD73BE17-8E1F-4990-ABEA-D0E4A2F68687}" destId="{1F101F2E-9CD8-4863-8208-F30C62AA1481}" srcOrd="0" destOrd="0" parTransId="{BD654B07-BAC9-4351-91BA-DEF874E34CD3}" sibTransId="{D914CEA5-FC28-4092-9B2A-66AC97EA213B}"/>
    <dgm:cxn modelId="{20D2513C-E9CE-4A5B-BB50-16DBA5708F23}" type="presOf" srcId="{3E0EA668-7CCA-4245-9C64-488CD0BC5D11}" destId="{DC49D098-172A-43A4-8A6E-1BE9F151DFC7}" srcOrd="0" destOrd="0" presId="urn:microsoft.com/office/officeart/2005/8/layout/vList2"/>
    <dgm:cxn modelId="{DA975D3E-8A7F-41BB-BFEA-08B85435872E}" type="presOf" srcId="{ECE71C09-084A-41B3-86A7-9B8948FF52AA}" destId="{FDF70A32-6E3E-4ACC-AD26-AA38C8657881}" srcOrd="0" destOrd="0" presId="urn:microsoft.com/office/officeart/2005/8/layout/vList2"/>
    <dgm:cxn modelId="{4FBC236B-3C6D-425A-A40D-6013E1C17DC9}" type="presOf" srcId="{9CA94CBB-D31B-4B26-A356-5E904C7805E8}" destId="{52A85D97-90FE-4AC5-8263-9B3C62782FC4}" srcOrd="0" destOrd="0" presId="urn:microsoft.com/office/officeart/2005/8/layout/vList2"/>
    <dgm:cxn modelId="{CB4FD573-BB8B-42A9-B982-CA64CBCFA0FC}" srcId="{FD73BE17-8E1F-4990-ABEA-D0E4A2F68687}" destId="{AE7D3C88-10B1-46D7-BEB4-CCD899418796}" srcOrd="1" destOrd="0" parTransId="{BF3490C4-B20E-40B1-A093-52B7AEF06E31}" sibTransId="{D889C2D2-907A-4AB0-AE64-4DDA509F534D}"/>
    <dgm:cxn modelId="{7CAC6757-F963-4773-BD6C-29D3B470DF18}" srcId="{5DE0015D-AEB8-4AF2-A087-BBEBA70AD66B}" destId="{FD73BE17-8E1F-4990-ABEA-D0E4A2F68687}" srcOrd="3" destOrd="0" parTransId="{BEC4E421-58F4-4E24-9853-857B446AD00A}" sibTransId="{4FA8B6D8-0DD8-4DAF-92B0-15A8D9C4343F}"/>
    <dgm:cxn modelId="{8E90F2A1-FE95-4CFD-97FA-1B1A6F728357}" srcId="{5DE0015D-AEB8-4AF2-A087-BBEBA70AD66B}" destId="{ECE71C09-084A-41B3-86A7-9B8948FF52AA}" srcOrd="1" destOrd="0" parTransId="{F9A0390B-EDF9-42A0-8EB6-18A87FF19FBF}" sibTransId="{CF3D6359-92B0-4644-BDF3-72158C2F0F36}"/>
    <dgm:cxn modelId="{1A1B0FA6-C7B2-4A20-9C2C-7036705EC4F5}" type="presOf" srcId="{5DE0015D-AEB8-4AF2-A087-BBEBA70AD66B}" destId="{7A52F03B-31B6-4B2F-8537-1D9D009C0EF5}" srcOrd="0" destOrd="0" presId="urn:microsoft.com/office/officeart/2005/8/layout/vList2"/>
    <dgm:cxn modelId="{B6381EA6-CA16-4244-A2DC-599E436D5749}" srcId="{5DE0015D-AEB8-4AF2-A087-BBEBA70AD66B}" destId="{1AEA5284-CD68-4AC9-B424-17E626515C2E}" srcOrd="0" destOrd="0" parTransId="{5FA54A62-5404-4622-AAC8-3506A8EA8EB3}" sibTransId="{F33B0175-05AA-4C15-8900-62A081DB14B7}"/>
    <dgm:cxn modelId="{9E5297A8-18AE-4CAC-AB76-E247ECFBCB5E}" type="presOf" srcId="{1F101F2E-9CD8-4863-8208-F30C62AA1481}" destId="{73FA54F6-54FF-4EBD-B291-1E77DBBCAE3D}" srcOrd="0" destOrd="0" presId="urn:microsoft.com/office/officeart/2005/8/layout/vList2"/>
    <dgm:cxn modelId="{40B45EBE-8932-43F1-AB19-F3B053E72BB7}" srcId="{FD73BE17-8E1F-4990-ABEA-D0E4A2F68687}" destId="{A2083314-0B4D-4A10-B655-C31D2F88FBC2}" srcOrd="2" destOrd="0" parTransId="{29D7DC1F-0258-4723-B80C-3FE0CB086696}" sibTransId="{6D17ACF9-B4F7-401E-8A0D-F59071C8BE66}"/>
    <dgm:cxn modelId="{9AE6FDC1-F816-40EB-B1CD-2F005E55E337}" srcId="{5DE0015D-AEB8-4AF2-A087-BBEBA70AD66B}" destId="{9CA94CBB-D31B-4B26-A356-5E904C7805E8}" srcOrd="2" destOrd="0" parTransId="{1029C2DC-9F41-48A4-BA8B-4DFF5610F05C}" sibTransId="{DCE97002-B5AF-4EB2-A6CB-346D2046217D}"/>
    <dgm:cxn modelId="{D37A00C4-AA9F-4ED5-86AD-EC06C0D411AF}" srcId="{ECE71C09-084A-41B3-86A7-9B8948FF52AA}" destId="{3E0EA668-7CCA-4245-9C64-488CD0BC5D11}" srcOrd="0" destOrd="0" parTransId="{60A7EA1C-7225-4BCA-B6D8-0481C2626CA9}" sibTransId="{939F10C4-CCC2-4B04-867A-AF1F4C04D21C}"/>
    <dgm:cxn modelId="{080204D8-D5C1-4CC1-B68B-9373B6C5E003}" type="presOf" srcId="{1AEA5284-CD68-4AC9-B424-17E626515C2E}" destId="{993CD1AD-158A-4C39-AECB-B1F1A112361C}" srcOrd="0" destOrd="0" presId="urn:microsoft.com/office/officeart/2005/8/layout/vList2"/>
    <dgm:cxn modelId="{FD7489D8-6597-4DA8-A086-BA7CE63809F7}" type="presOf" srcId="{A2083314-0B4D-4A10-B655-C31D2F88FBC2}" destId="{73FA54F6-54FF-4EBD-B291-1E77DBBCAE3D}" srcOrd="0" destOrd="2" presId="urn:microsoft.com/office/officeart/2005/8/layout/vList2"/>
    <dgm:cxn modelId="{FAD8FFF3-3633-49DC-9D10-BC13CA1B900A}" srcId="{9CA94CBB-D31B-4B26-A356-5E904C7805E8}" destId="{015D2F01-2D7C-40CF-A544-B7997840A0E1}" srcOrd="0" destOrd="0" parTransId="{48988485-25B2-4328-8EA5-434E6DB2A377}" sibTransId="{23ADABC5-E7B3-4D65-9EC5-463AC2532DEE}"/>
    <dgm:cxn modelId="{6FE4216E-6B58-4075-8D7F-BF5270EC04CD}" type="presParOf" srcId="{7A52F03B-31B6-4B2F-8537-1D9D009C0EF5}" destId="{993CD1AD-158A-4C39-AECB-B1F1A112361C}" srcOrd="0" destOrd="0" presId="urn:microsoft.com/office/officeart/2005/8/layout/vList2"/>
    <dgm:cxn modelId="{8D8BE796-1EF2-4420-9523-2B0C219B1250}" type="presParOf" srcId="{7A52F03B-31B6-4B2F-8537-1D9D009C0EF5}" destId="{7555DBBA-A22E-47EA-BFC0-AEF1052DE725}" srcOrd="1" destOrd="0" presId="urn:microsoft.com/office/officeart/2005/8/layout/vList2"/>
    <dgm:cxn modelId="{99C896E2-E691-4AD3-8AB1-18E0F2CB22E4}" type="presParOf" srcId="{7A52F03B-31B6-4B2F-8537-1D9D009C0EF5}" destId="{FDF70A32-6E3E-4ACC-AD26-AA38C8657881}" srcOrd="2" destOrd="0" presId="urn:microsoft.com/office/officeart/2005/8/layout/vList2"/>
    <dgm:cxn modelId="{5874B7BC-EFCC-46B7-9737-27C321C483EC}" type="presParOf" srcId="{7A52F03B-31B6-4B2F-8537-1D9D009C0EF5}" destId="{DC49D098-172A-43A4-8A6E-1BE9F151DFC7}" srcOrd="3" destOrd="0" presId="urn:microsoft.com/office/officeart/2005/8/layout/vList2"/>
    <dgm:cxn modelId="{B29577CC-784F-4BB7-9837-C662A0BE7434}" type="presParOf" srcId="{7A52F03B-31B6-4B2F-8537-1D9D009C0EF5}" destId="{52A85D97-90FE-4AC5-8263-9B3C62782FC4}" srcOrd="4" destOrd="0" presId="urn:microsoft.com/office/officeart/2005/8/layout/vList2"/>
    <dgm:cxn modelId="{19E3E0C3-7979-4DC7-AFF7-8FBDE3D578B5}" type="presParOf" srcId="{7A52F03B-31B6-4B2F-8537-1D9D009C0EF5}" destId="{79C8AD4F-4F73-4D39-A805-08CB8B5F908A}" srcOrd="5" destOrd="0" presId="urn:microsoft.com/office/officeart/2005/8/layout/vList2"/>
    <dgm:cxn modelId="{5A2947F0-D9A7-4EF4-8BFC-EEE0AAF1F0A0}" type="presParOf" srcId="{7A52F03B-31B6-4B2F-8537-1D9D009C0EF5}" destId="{57EEA118-2B00-4662-862F-C82E930C0746}" srcOrd="6" destOrd="0" presId="urn:microsoft.com/office/officeart/2005/8/layout/vList2"/>
    <dgm:cxn modelId="{3BACBAF1-08EE-49E1-8ABD-D080E9E1F191}" type="presParOf" srcId="{7A52F03B-31B6-4B2F-8537-1D9D009C0EF5}" destId="{73FA54F6-54FF-4EBD-B291-1E77DBBCAE3D}"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240D6D8-7490-4844-9EB5-5379740C2075}" type="doc">
      <dgm:prSet loTypeId="urn:microsoft.com/office/officeart/2005/8/layout/cycle3" loCatId="cycle" qsTypeId="urn:microsoft.com/office/officeart/2005/8/quickstyle/simple1" qsCatId="simple" csTypeId="urn:microsoft.com/office/officeart/2005/8/colors/colorful2" csCatId="colorful" phldr="1"/>
      <dgm:spPr/>
      <dgm:t>
        <a:bodyPr/>
        <a:lstStyle/>
        <a:p>
          <a:endParaRPr lang="en-US"/>
        </a:p>
      </dgm:t>
    </dgm:pt>
    <dgm:pt modelId="{A720B26A-22E3-4B07-A6AC-E196D66EB2FD}">
      <dgm:prSet phldrT="[Text]"/>
      <dgm:spPr/>
      <dgm:t>
        <a:bodyPr/>
        <a:lstStyle/>
        <a:p>
          <a:r>
            <a:rPr lang="en-US" dirty="0">
              <a:latin typeface="+mj-lt"/>
            </a:rPr>
            <a:t>FAFSA &amp; WASFA open in December</a:t>
          </a:r>
        </a:p>
      </dgm:t>
    </dgm:pt>
    <dgm:pt modelId="{2DA48E39-05DA-4564-813D-134F5371698C}" type="parTrans" cxnId="{1925E4C3-B18E-464B-A3F5-D1CA0441FCED}">
      <dgm:prSet/>
      <dgm:spPr/>
      <dgm:t>
        <a:bodyPr/>
        <a:lstStyle/>
        <a:p>
          <a:endParaRPr lang="en-US"/>
        </a:p>
      </dgm:t>
    </dgm:pt>
    <dgm:pt modelId="{8105AB20-2D6A-45E8-93DF-02FC44AD90CE}" type="sibTrans" cxnId="{1925E4C3-B18E-464B-A3F5-D1CA0441FCED}">
      <dgm:prSet/>
      <dgm:spPr/>
      <dgm:t>
        <a:bodyPr/>
        <a:lstStyle/>
        <a:p>
          <a:endParaRPr lang="en-US"/>
        </a:p>
      </dgm:t>
    </dgm:pt>
    <dgm:pt modelId="{86C4F57C-6535-4543-A510-66472222C53C}">
      <dgm:prSet phldrT="[Text]"/>
      <dgm:spPr/>
      <dgm:t>
        <a:bodyPr/>
        <a:lstStyle/>
        <a:p>
          <a:r>
            <a:rPr lang="en-US" dirty="0">
              <a:latin typeface="+mj-lt"/>
            </a:rPr>
            <a:t>Students apply for financial aid and admissions</a:t>
          </a:r>
        </a:p>
      </dgm:t>
    </dgm:pt>
    <dgm:pt modelId="{1E92E189-8377-4EA4-8C87-473189A3D2F7}" type="parTrans" cxnId="{0424070B-AC03-414D-9C99-5F5CC328B3A3}">
      <dgm:prSet/>
      <dgm:spPr/>
      <dgm:t>
        <a:bodyPr/>
        <a:lstStyle/>
        <a:p>
          <a:endParaRPr lang="en-US"/>
        </a:p>
      </dgm:t>
    </dgm:pt>
    <dgm:pt modelId="{26B3CED2-5F4F-43F9-BAE5-E631C7BD3FBB}" type="sibTrans" cxnId="{0424070B-AC03-414D-9C99-5F5CC328B3A3}">
      <dgm:prSet/>
      <dgm:spPr/>
      <dgm:t>
        <a:bodyPr/>
        <a:lstStyle/>
        <a:p>
          <a:endParaRPr lang="en-US"/>
        </a:p>
      </dgm:t>
    </dgm:pt>
    <dgm:pt modelId="{A09DF805-1F57-4B5F-8F60-6E7085023EE0}">
      <dgm:prSet phldrT="[Text]"/>
      <dgm:spPr/>
      <dgm:t>
        <a:bodyPr/>
        <a:lstStyle/>
        <a:p>
          <a:r>
            <a:rPr lang="en-US" dirty="0">
              <a:latin typeface="+mj-lt"/>
            </a:rPr>
            <a:t>Create an FSA ID or WASFA account (only created once)</a:t>
          </a:r>
        </a:p>
      </dgm:t>
    </dgm:pt>
    <dgm:pt modelId="{FFD8DFB1-EBB5-44AD-AF40-ACA01DA457FF}" type="parTrans" cxnId="{EFD477FD-829C-4228-99A2-6208472B7E16}">
      <dgm:prSet/>
      <dgm:spPr/>
      <dgm:t>
        <a:bodyPr/>
        <a:lstStyle/>
        <a:p>
          <a:endParaRPr lang="en-US"/>
        </a:p>
      </dgm:t>
    </dgm:pt>
    <dgm:pt modelId="{70ACBEE0-31E1-4B6E-9F34-E85FA085ABD0}" type="sibTrans" cxnId="{EFD477FD-829C-4228-99A2-6208472B7E16}">
      <dgm:prSet/>
      <dgm:spPr/>
      <dgm:t>
        <a:bodyPr/>
        <a:lstStyle/>
        <a:p>
          <a:endParaRPr lang="en-US"/>
        </a:p>
      </dgm:t>
    </dgm:pt>
    <dgm:pt modelId="{61B99509-AEF9-40C7-9B3A-130B7498C240}">
      <dgm:prSet phldrT="[Text]"/>
      <dgm:spPr/>
      <dgm:t>
        <a:bodyPr/>
        <a:lstStyle/>
        <a:p>
          <a:r>
            <a:rPr lang="en-US" dirty="0">
              <a:latin typeface="+mj-lt"/>
            </a:rPr>
            <a:t>Gather required documents </a:t>
          </a:r>
        </a:p>
      </dgm:t>
    </dgm:pt>
    <dgm:pt modelId="{D4C78FD9-D736-4CC9-BF9B-0BD7647F87AB}" type="parTrans" cxnId="{49AC5FE0-C60C-4CE6-829A-9D9FE435B404}">
      <dgm:prSet/>
      <dgm:spPr/>
      <dgm:t>
        <a:bodyPr/>
        <a:lstStyle/>
        <a:p>
          <a:endParaRPr lang="en-US"/>
        </a:p>
      </dgm:t>
    </dgm:pt>
    <dgm:pt modelId="{B941418F-917B-4ED7-BC84-29BD91B8A25A}" type="sibTrans" cxnId="{49AC5FE0-C60C-4CE6-829A-9D9FE435B404}">
      <dgm:prSet/>
      <dgm:spPr/>
      <dgm:t>
        <a:bodyPr/>
        <a:lstStyle/>
        <a:p>
          <a:endParaRPr lang="en-US"/>
        </a:p>
      </dgm:t>
    </dgm:pt>
    <dgm:pt modelId="{C82DCEF1-746B-4587-9D86-7A8A6E425CF7}">
      <dgm:prSet phldrT="[Text]"/>
      <dgm:spPr/>
      <dgm:t>
        <a:bodyPr/>
        <a:lstStyle/>
        <a:p>
          <a:r>
            <a:rPr lang="en-US" dirty="0">
              <a:latin typeface="+mj-lt"/>
            </a:rPr>
            <a:t>Follow up with colleges for any additional request for information</a:t>
          </a:r>
        </a:p>
      </dgm:t>
    </dgm:pt>
    <dgm:pt modelId="{0999C082-21E5-4CBC-B0EF-FE24F4DCE523}" type="parTrans" cxnId="{B8D2CF2B-B7DE-4DFD-94DD-E23B4A26D936}">
      <dgm:prSet/>
      <dgm:spPr/>
      <dgm:t>
        <a:bodyPr/>
        <a:lstStyle/>
        <a:p>
          <a:endParaRPr lang="en-US"/>
        </a:p>
      </dgm:t>
    </dgm:pt>
    <dgm:pt modelId="{259BCD71-2B12-4BB6-8F18-1F888776EC78}" type="sibTrans" cxnId="{B8D2CF2B-B7DE-4DFD-94DD-E23B4A26D936}">
      <dgm:prSet/>
      <dgm:spPr/>
      <dgm:t>
        <a:bodyPr/>
        <a:lstStyle/>
        <a:p>
          <a:endParaRPr lang="en-US"/>
        </a:p>
      </dgm:t>
    </dgm:pt>
    <dgm:pt modelId="{5FE6B6A3-6701-488F-A726-6A9CAFF65C17}">
      <dgm:prSet phldrT="[Text]"/>
      <dgm:spPr/>
      <dgm:t>
        <a:bodyPr/>
        <a:lstStyle/>
        <a:p>
          <a:r>
            <a:rPr lang="en-US" dirty="0">
              <a:latin typeface="+mj-lt"/>
            </a:rPr>
            <a:t>Review your award letters and accept your aid.</a:t>
          </a:r>
        </a:p>
      </dgm:t>
    </dgm:pt>
    <dgm:pt modelId="{53ABDBF4-95A2-491A-B76C-E03E3E0C0A48}" type="parTrans" cxnId="{2F967F1E-4530-4532-9753-B41F72FAA86D}">
      <dgm:prSet/>
      <dgm:spPr/>
      <dgm:t>
        <a:bodyPr/>
        <a:lstStyle/>
        <a:p>
          <a:endParaRPr lang="en-US"/>
        </a:p>
      </dgm:t>
    </dgm:pt>
    <dgm:pt modelId="{C85E0382-82A7-47F7-8E8A-4F1C168862FF}" type="sibTrans" cxnId="{2F967F1E-4530-4532-9753-B41F72FAA86D}">
      <dgm:prSet/>
      <dgm:spPr/>
      <dgm:t>
        <a:bodyPr/>
        <a:lstStyle/>
        <a:p>
          <a:endParaRPr lang="en-US"/>
        </a:p>
      </dgm:t>
    </dgm:pt>
    <dgm:pt modelId="{670F5E29-8E36-4E72-86FB-20718D82A483}" type="pres">
      <dgm:prSet presAssocID="{F240D6D8-7490-4844-9EB5-5379740C2075}" presName="Name0" presStyleCnt="0">
        <dgm:presLayoutVars>
          <dgm:dir/>
          <dgm:resizeHandles val="exact"/>
        </dgm:presLayoutVars>
      </dgm:prSet>
      <dgm:spPr/>
    </dgm:pt>
    <dgm:pt modelId="{180A2BB1-DD42-4138-B077-636240A1B721}" type="pres">
      <dgm:prSet presAssocID="{F240D6D8-7490-4844-9EB5-5379740C2075}" presName="cycle" presStyleCnt="0"/>
      <dgm:spPr/>
    </dgm:pt>
    <dgm:pt modelId="{396097A1-E9A3-459B-9481-0CFB1C7A4168}" type="pres">
      <dgm:prSet presAssocID="{61B99509-AEF9-40C7-9B3A-130B7498C240}" presName="nodeFirstNode" presStyleLbl="node1" presStyleIdx="0" presStyleCnt="6">
        <dgm:presLayoutVars>
          <dgm:bulletEnabled val="1"/>
        </dgm:presLayoutVars>
      </dgm:prSet>
      <dgm:spPr/>
    </dgm:pt>
    <dgm:pt modelId="{5A48AAA6-5767-4857-8F42-A50639916294}" type="pres">
      <dgm:prSet presAssocID="{B941418F-917B-4ED7-BC84-29BD91B8A25A}" presName="sibTransFirstNode" presStyleLbl="bgShp" presStyleIdx="0" presStyleCnt="1"/>
      <dgm:spPr/>
    </dgm:pt>
    <dgm:pt modelId="{17A59CB3-C312-4804-9B27-E9EC7480DFA6}" type="pres">
      <dgm:prSet presAssocID="{A09DF805-1F57-4B5F-8F60-6E7085023EE0}" presName="nodeFollowingNodes" presStyleLbl="node1" presStyleIdx="1" presStyleCnt="6">
        <dgm:presLayoutVars>
          <dgm:bulletEnabled val="1"/>
        </dgm:presLayoutVars>
      </dgm:prSet>
      <dgm:spPr/>
    </dgm:pt>
    <dgm:pt modelId="{0440F1AF-C7BA-4479-9D19-310F3CA5BB3E}" type="pres">
      <dgm:prSet presAssocID="{A720B26A-22E3-4B07-A6AC-E196D66EB2FD}" presName="nodeFollowingNodes" presStyleLbl="node1" presStyleIdx="2" presStyleCnt="6">
        <dgm:presLayoutVars>
          <dgm:bulletEnabled val="1"/>
        </dgm:presLayoutVars>
      </dgm:prSet>
      <dgm:spPr/>
    </dgm:pt>
    <dgm:pt modelId="{80E7C151-8990-41C0-81F8-D11135D6AA76}" type="pres">
      <dgm:prSet presAssocID="{86C4F57C-6535-4543-A510-66472222C53C}" presName="nodeFollowingNodes" presStyleLbl="node1" presStyleIdx="3" presStyleCnt="6">
        <dgm:presLayoutVars>
          <dgm:bulletEnabled val="1"/>
        </dgm:presLayoutVars>
      </dgm:prSet>
      <dgm:spPr/>
    </dgm:pt>
    <dgm:pt modelId="{EA2AA3E0-8A65-4ACE-8A69-98A580E15AFC}" type="pres">
      <dgm:prSet presAssocID="{C82DCEF1-746B-4587-9D86-7A8A6E425CF7}" presName="nodeFollowingNodes" presStyleLbl="node1" presStyleIdx="4" presStyleCnt="6">
        <dgm:presLayoutVars>
          <dgm:bulletEnabled val="1"/>
        </dgm:presLayoutVars>
      </dgm:prSet>
      <dgm:spPr/>
    </dgm:pt>
    <dgm:pt modelId="{AA458DA6-D0B9-443C-ABD5-12A7170BF190}" type="pres">
      <dgm:prSet presAssocID="{5FE6B6A3-6701-488F-A726-6A9CAFF65C17}" presName="nodeFollowingNodes" presStyleLbl="node1" presStyleIdx="5" presStyleCnt="6">
        <dgm:presLayoutVars>
          <dgm:bulletEnabled val="1"/>
        </dgm:presLayoutVars>
      </dgm:prSet>
      <dgm:spPr/>
    </dgm:pt>
  </dgm:ptLst>
  <dgm:cxnLst>
    <dgm:cxn modelId="{0424070B-AC03-414D-9C99-5F5CC328B3A3}" srcId="{F240D6D8-7490-4844-9EB5-5379740C2075}" destId="{86C4F57C-6535-4543-A510-66472222C53C}" srcOrd="3" destOrd="0" parTransId="{1E92E189-8377-4EA4-8C87-473189A3D2F7}" sibTransId="{26B3CED2-5F4F-43F9-BAE5-E631C7BD3FBB}"/>
    <dgm:cxn modelId="{381BE90C-C20B-4F65-B403-B8549655B1AF}" type="presOf" srcId="{F240D6D8-7490-4844-9EB5-5379740C2075}" destId="{670F5E29-8E36-4E72-86FB-20718D82A483}" srcOrd="0" destOrd="0" presId="urn:microsoft.com/office/officeart/2005/8/layout/cycle3"/>
    <dgm:cxn modelId="{2F967F1E-4530-4532-9753-B41F72FAA86D}" srcId="{F240D6D8-7490-4844-9EB5-5379740C2075}" destId="{5FE6B6A3-6701-488F-A726-6A9CAFF65C17}" srcOrd="5" destOrd="0" parTransId="{53ABDBF4-95A2-491A-B76C-E03E3E0C0A48}" sibTransId="{C85E0382-82A7-47F7-8E8A-4F1C168862FF}"/>
    <dgm:cxn modelId="{29A2A420-A25F-4066-A9CC-7CD366C2D24D}" type="presOf" srcId="{B941418F-917B-4ED7-BC84-29BD91B8A25A}" destId="{5A48AAA6-5767-4857-8F42-A50639916294}" srcOrd="0" destOrd="0" presId="urn:microsoft.com/office/officeart/2005/8/layout/cycle3"/>
    <dgm:cxn modelId="{311B552B-5AE7-4340-8637-0E1A09157072}" type="presOf" srcId="{5FE6B6A3-6701-488F-A726-6A9CAFF65C17}" destId="{AA458DA6-D0B9-443C-ABD5-12A7170BF190}" srcOrd="0" destOrd="0" presId="urn:microsoft.com/office/officeart/2005/8/layout/cycle3"/>
    <dgm:cxn modelId="{B8D2CF2B-B7DE-4DFD-94DD-E23B4A26D936}" srcId="{F240D6D8-7490-4844-9EB5-5379740C2075}" destId="{C82DCEF1-746B-4587-9D86-7A8A6E425CF7}" srcOrd="4" destOrd="0" parTransId="{0999C082-21E5-4CBC-B0EF-FE24F4DCE523}" sibTransId="{259BCD71-2B12-4BB6-8F18-1F888776EC78}"/>
    <dgm:cxn modelId="{4E5BE538-FE71-4D07-B6E8-BEF3A937AC8A}" type="presOf" srcId="{61B99509-AEF9-40C7-9B3A-130B7498C240}" destId="{396097A1-E9A3-459B-9481-0CFB1C7A4168}" srcOrd="0" destOrd="0" presId="urn:microsoft.com/office/officeart/2005/8/layout/cycle3"/>
    <dgm:cxn modelId="{DEA88B3B-5F49-4FF1-A7CF-BDB14C96B4E0}" type="presOf" srcId="{A720B26A-22E3-4B07-A6AC-E196D66EB2FD}" destId="{0440F1AF-C7BA-4479-9D19-310F3CA5BB3E}" srcOrd="0" destOrd="0" presId="urn:microsoft.com/office/officeart/2005/8/layout/cycle3"/>
    <dgm:cxn modelId="{2DE9F0B1-CB7B-4A1A-9DF2-B72304FCE668}" type="presOf" srcId="{A09DF805-1F57-4B5F-8F60-6E7085023EE0}" destId="{17A59CB3-C312-4804-9B27-E9EC7480DFA6}" srcOrd="0" destOrd="0" presId="urn:microsoft.com/office/officeart/2005/8/layout/cycle3"/>
    <dgm:cxn modelId="{1925E4C3-B18E-464B-A3F5-D1CA0441FCED}" srcId="{F240D6D8-7490-4844-9EB5-5379740C2075}" destId="{A720B26A-22E3-4B07-A6AC-E196D66EB2FD}" srcOrd="2" destOrd="0" parTransId="{2DA48E39-05DA-4564-813D-134F5371698C}" sibTransId="{8105AB20-2D6A-45E8-93DF-02FC44AD90CE}"/>
    <dgm:cxn modelId="{B9E248C8-9510-4806-A301-71BF2DF9C7E2}" type="presOf" srcId="{C82DCEF1-746B-4587-9D86-7A8A6E425CF7}" destId="{EA2AA3E0-8A65-4ACE-8A69-98A580E15AFC}" srcOrd="0" destOrd="0" presId="urn:microsoft.com/office/officeart/2005/8/layout/cycle3"/>
    <dgm:cxn modelId="{27AEB1D9-6986-406C-9DD2-5FB537A0D42A}" type="presOf" srcId="{86C4F57C-6535-4543-A510-66472222C53C}" destId="{80E7C151-8990-41C0-81F8-D11135D6AA76}" srcOrd="0" destOrd="0" presId="urn:microsoft.com/office/officeart/2005/8/layout/cycle3"/>
    <dgm:cxn modelId="{49AC5FE0-C60C-4CE6-829A-9D9FE435B404}" srcId="{F240D6D8-7490-4844-9EB5-5379740C2075}" destId="{61B99509-AEF9-40C7-9B3A-130B7498C240}" srcOrd="0" destOrd="0" parTransId="{D4C78FD9-D736-4CC9-BF9B-0BD7647F87AB}" sibTransId="{B941418F-917B-4ED7-BC84-29BD91B8A25A}"/>
    <dgm:cxn modelId="{EFD477FD-829C-4228-99A2-6208472B7E16}" srcId="{F240D6D8-7490-4844-9EB5-5379740C2075}" destId="{A09DF805-1F57-4B5F-8F60-6E7085023EE0}" srcOrd="1" destOrd="0" parTransId="{FFD8DFB1-EBB5-44AD-AF40-ACA01DA457FF}" sibTransId="{70ACBEE0-31E1-4B6E-9F34-E85FA085ABD0}"/>
    <dgm:cxn modelId="{E8D3216F-999D-43FD-B747-5D0698DB3389}" type="presParOf" srcId="{670F5E29-8E36-4E72-86FB-20718D82A483}" destId="{180A2BB1-DD42-4138-B077-636240A1B721}" srcOrd="0" destOrd="0" presId="urn:microsoft.com/office/officeart/2005/8/layout/cycle3"/>
    <dgm:cxn modelId="{0EA78FD4-A4D6-40AD-9151-54641C586F5D}" type="presParOf" srcId="{180A2BB1-DD42-4138-B077-636240A1B721}" destId="{396097A1-E9A3-459B-9481-0CFB1C7A4168}" srcOrd="0" destOrd="0" presId="urn:microsoft.com/office/officeart/2005/8/layout/cycle3"/>
    <dgm:cxn modelId="{C52BBD79-490A-420E-ABC7-18933E23BE34}" type="presParOf" srcId="{180A2BB1-DD42-4138-B077-636240A1B721}" destId="{5A48AAA6-5767-4857-8F42-A50639916294}" srcOrd="1" destOrd="0" presId="urn:microsoft.com/office/officeart/2005/8/layout/cycle3"/>
    <dgm:cxn modelId="{7FDE5EFC-953B-42A2-91FD-397543565DA3}" type="presParOf" srcId="{180A2BB1-DD42-4138-B077-636240A1B721}" destId="{17A59CB3-C312-4804-9B27-E9EC7480DFA6}" srcOrd="2" destOrd="0" presId="urn:microsoft.com/office/officeart/2005/8/layout/cycle3"/>
    <dgm:cxn modelId="{F88EE6BC-9415-455A-93CB-C58227C0F443}" type="presParOf" srcId="{180A2BB1-DD42-4138-B077-636240A1B721}" destId="{0440F1AF-C7BA-4479-9D19-310F3CA5BB3E}" srcOrd="3" destOrd="0" presId="urn:microsoft.com/office/officeart/2005/8/layout/cycle3"/>
    <dgm:cxn modelId="{B82375B8-DDCE-4624-ADEE-91A9D12D78D4}" type="presParOf" srcId="{180A2BB1-DD42-4138-B077-636240A1B721}" destId="{80E7C151-8990-41C0-81F8-D11135D6AA76}" srcOrd="4" destOrd="0" presId="urn:microsoft.com/office/officeart/2005/8/layout/cycle3"/>
    <dgm:cxn modelId="{73AFADC4-F055-409E-83C4-5365CC0E4C8C}" type="presParOf" srcId="{180A2BB1-DD42-4138-B077-636240A1B721}" destId="{EA2AA3E0-8A65-4ACE-8A69-98A580E15AFC}" srcOrd="5" destOrd="0" presId="urn:microsoft.com/office/officeart/2005/8/layout/cycle3"/>
    <dgm:cxn modelId="{367F2668-2270-43F5-B059-E5CCA28E5626}" type="presParOf" srcId="{180A2BB1-DD42-4138-B077-636240A1B721}" destId="{AA458DA6-D0B9-443C-ABD5-12A7170BF190}"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0B7AFB2-E349-4501-8197-11564814C653}"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000D962-A808-484B-8C7E-679C47313CA5}">
      <dgm:prSet phldrT="[Text]"/>
      <dgm:spPr>
        <a:solidFill>
          <a:srgbClr val="002060"/>
        </a:solidFill>
      </dgm:spPr>
      <dgm:t>
        <a:bodyPr/>
        <a:lstStyle/>
        <a:p>
          <a:r>
            <a:rPr lang="en-US" b="0" i="0" dirty="0">
              <a:latin typeface="+mj-lt"/>
            </a:rPr>
            <a:t>The 2024-25 FAFSA &amp; WASFA will be available in December</a:t>
          </a:r>
          <a:endParaRPr lang="en-US" dirty="0">
            <a:latin typeface="+mj-lt"/>
          </a:endParaRPr>
        </a:p>
      </dgm:t>
    </dgm:pt>
    <dgm:pt modelId="{F0AF3E58-2F92-47AD-B5B5-164F51F168F8}" type="parTrans" cxnId="{B28ADAC2-A93A-46BE-B1A6-0530288A2156}">
      <dgm:prSet/>
      <dgm:spPr/>
      <dgm:t>
        <a:bodyPr/>
        <a:lstStyle/>
        <a:p>
          <a:endParaRPr lang="en-US"/>
        </a:p>
      </dgm:t>
    </dgm:pt>
    <dgm:pt modelId="{B23A328E-CAC2-424A-AFBD-18E72DFE6DF0}" type="sibTrans" cxnId="{B28ADAC2-A93A-46BE-B1A6-0530288A2156}">
      <dgm:prSet/>
      <dgm:spPr/>
      <dgm:t>
        <a:bodyPr/>
        <a:lstStyle/>
        <a:p>
          <a:endParaRPr lang="en-US"/>
        </a:p>
      </dgm:t>
    </dgm:pt>
    <dgm:pt modelId="{F2D0F833-3978-4623-AB9B-223964BCDB12}">
      <dgm:prSet phldrT="[Text]"/>
      <dgm:spPr/>
      <dgm:t>
        <a:bodyPr/>
        <a:lstStyle/>
        <a:p>
          <a:r>
            <a:rPr lang="en-US" b="0" i="0" dirty="0">
              <a:latin typeface="+mj-lt"/>
            </a:rPr>
            <a:t>2025-26 and beyond will be available in October </a:t>
          </a:r>
          <a:endParaRPr lang="en-US" dirty="0">
            <a:latin typeface="+mj-lt"/>
          </a:endParaRPr>
        </a:p>
      </dgm:t>
    </dgm:pt>
    <dgm:pt modelId="{F39E98FC-B8DF-4411-BD3A-2B781EE576C0}" type="parTrans" cxnId="{CA348D81-A921-41A5-BEF9-8FB0D15641C1}">
      <dgm:prSet/>
      <dgm:spPr/>
      <dgm:t>
        <a:bodyPr/>
        <a:lstStyle/>
        <a:p>
          <a:endParaRPr lang="en-US"/>
        </a:p>
      </dgm:t>
    </dgm:pt>
    <dgm:pt modelId="{5887BE55-3497-4942-BC4C-427A6B56F1FF}" type="sibTrans" cxnId="{CA348D81-A921-41A5-BEF9-8FB0D15641C1}">
      <dgm:prSet/>
      <dgm:spPr/>
      <dgm:t>
        <a:bodyPr/>
        <a:lstStyle/>
        <a:p>
          <a:endParaRPr lang="en-US"/>
        </a:p>
      </dgm:t>
    </dgm:pt>
    <dgm:pt modelId="{F235FF95-D337-4A2E-9B09-0A30D6F883FF}">
      <dgm:prSet phldrT="[Text]"/>
      <dgm:spPr>
        <a:solidFill>
          <a:schemeClr val="accent3">
            <a:lumMod val="75000"/>
          </a:schemeClr>
        </a:solidFill>
      </dgm:spPr>
      <dgm:t>
        <a:bodyPr/>
        <a:lstStyle/>
        <a:p>
          <a:r>
            <a:rPr lang="en-US" dirty="0">
              <a:latin typeface="+mj-lt"/>
            </a:rPr>
            <a:t>Class of 2024 will complete the 2024-25 FAFSA or WASFA using 2022 income information </a:t>
          </a:r>
        </a:p>
      </dgm:t>
    </dgm:pt>
    <dgm:pt modelId="{64DEDB3F-FFFF-4CF6-BC9C-1AF7D6BB43B4}" type="parTrans" cxnId="{09A6979F-94A7-4114-B31A-C33FFBFDB788}">
      <dgm:prSet/>
      <dgm:spPr/>
      <dgm:t>
        <a:bodyPr/>
        <a:lstStyle/>
        <a:p>
          <a:endParaRPr lang="en-US"/>
        </a:p>
      </dgm:t>
    </dgm:pt>
    <dgm:pt modelId="{7C110B9B-ED89-4A2B-86BD-90C70A95B8BC}" type="sibTrans" cxnId="{09A6979F-94A7-4114-B31A-C33FFBFDB788}">
      <dgm:prSet/>
      <dgm:spPr/>
      <dgm:t>
        <a:bodyPr/>
        <a:lstStyle/>
        <a:p>
          <a:endParaRPr lang="en-US"/>
        </a:p>
      </dgm:t>
    </dgm:pt>
    <dgm:pt modelId="{E0C89FD5-07FD-4394-812D-973710E60ED3}" type="pres">
      <dgm:prSet presAssocID="{40B7AFB2-E349-4501-8197-11564814C653}" presName="diagram" presStyleCnt="0">
        <dgm:presLayoutVars>
          <dgm:dir/>
          <dgm:resizeHandles val="exact"/>
        </dgm:presLayoutVars>
      </dgm:prSet>
      <dgm:spPr/>
    </dgm:pt>
    <dgm:pt modelId="{E9FFE250-7FBD-437E-B88B-8186CAFCB872}" type="pres">
      <dgm:prSet presAssocID="{5000D962-A808-484B-8C7E-679C47313CA5}" presName="node" presStyleLbl="node1" presStyleIdx="0" presStyleCnt="3">
        <dgm:presLayoutVars>
          <dgm:bulletEnabled val="1"/>
        </dgm:presLayoutVars>
      </dgm:prSet>
      <dgm:spPr/>
    </dgm:pt>
    <dgm:pt modelId="{AF20B47D-C60D-4CE2-9699-C75D4E73DC72}" type="pres">
      <dgm:prSet presAssocID="{B23A328E-CAC2-424A-AFBD-18E72DFE6DF0}" presName="sibTrans" presStyleCnt="0"/>
      <dgm:spPr/>
    </dgm:pt>
    <dgm:pt modelId="{24954EB3-C380-4182-B666-EEB6575BB82A}" type="pres">
      <dgm:prSet presAssocID="{F2D0F833-3978-4623-AB9B-223964BCDB12}" presName="node" presStyleLbl="node1" presStyleIdx="1" presStyleCnt="3">
        <dgm:presLayoutVars>
          <dgm:bulletEnabled val="1"/>
        </dgm:presLayoutVars>
      </dgm:prSet>
      <dgm:spPr/>
    </dgm:pt>
    <dgm:pt modelId="{60A837F8-24D3-40D7-B1A2-8121CC0C5B59}" type="pres">
      <dgm:prSet presAssocID="{5887BE55-3497-4942-BC4C-427A6B56F1FF}" presName="sibTrans" presStyleCnt="0"/>
      <dgm:spPr/>
    </dgm:pt>
    <dgm:pt modelId="{2107CA9C-CC16-47C2-9DBB-B69B73877499}" type="pres">
      <dgm:prSet presAssocID="{F235FF95-D337-4A2E-9B09-0A30D6F883FF}" presName="node" presStyleLbl="node1" presStyleIdx="2" presStyleCnt="3">
        <dgm:presLayoutVars>
          <dgm:bulletEnabled val="1"/>
        </dgm:presLayoutVars>
      </dgm:prSet>
      <dgm:spPr/>
    </dgm:pt>
  </dgm:ptLst>
  <dgm:cxnLst>
    <dgm:cxn modelId="{9347E867-4761-42E4-B68C-07D540203F54}" type="presOf" srcId="{40B7AFB2-E349-4501-8197-11564814C653}" destId="{E0C89FD5-07FD-4394-812D-973710E60ED3}" srcOrd="0" destOrd="0" presId="urn:microsoft.com/office/officeart/2005/8/layout/default"/>
    <dgm:cxn modelId="{0D74046D-30E4-4D7F-B490-C1E8C6BD7520}" type="presOf" srcId="{5000D962-A808-484B-8C7E-679C47313CA5}" destId="{E9FFE250-7FBD-437E-B88B-8186CAFCB872}" srcOrd="0" destOrd="0" presId="urn:microsoft.com/office/officeart/2005/8/layout/default"/>
    <dgm:cxn modelId="{620D8E56-F660-455E-878C-8599C5EC1E6D}" type="presOf" srcId="{F2D0F833-3978-4623-AB9B-223964BCDB12}" destId="{24954EB3-C380-4182-B666-EEB6575BB82A}" srcOrd="0" destOrd="0" presId="urn:microsoft.com/office/officeart/2005/8/layout/default"/>
    <dgm:cxn modelId="{CA348D81-A921-41A5-BEF9-8FB0D15641C1}" srcId="{40B7AFB2-E349-4501-8197-11564814C653}" destId="{F2D0F833-3978-4623-AB9B-223964BCDB12}" srcOrd="1" destOrd="0" parTransId="{F39E98FC-B8DF-4411-BD3A-2B781EE576C0}" sibTransId="{5887BE55-3497-4942-BC4C-427A6B56F1FF}"/>
    <dgm:cxn modelId="{09A6979F-94A7-4114-B31A-C33FFBFDB788}" srcId="{40B7AFB2-E349-4501-8197-11564814C653}" destId="{F235FF95-D337-4A2E-9B09-0A30D6F883FF}" srcOrd="2" destOrd="0" parTransId="{64DEDB3F-FFFF-4CF6-BC9C-1AF7D6BB43B4}" sibTransId="{7C110B9B-ED89-4A2B-86BD-90C70A95B8BC}"/>
    <dgm:cxn modelId="{B28ADAC2-A93A-46BE-B1A6-0530288A2156}" srcId="{40B7AFB2-E349-4501-8197-11564814C653}" destId="{5000D962-A808-484B-8C7E-679C47313CA5}" srcOrd="0" destOrd="0" parTransId="{F0AF3E58-2F92-47AD-B5B5-164F51F168F8}" sibTransId="{B23A328E-CAC2-424A-AFBD-18E72DFE6DF0}"/>
    <dgm:cxn modelId="{AFA940CD-A2B5-42C5-A8A8-457973F0603C}" type="presOf" srcId="{F235FF95-D337-4A2E-9B09-0A30D6F883FF}" destId="{2107CA9C-CC16-47C2-9DBB-B69B73877499}" srcOrd="0" destOrd="0" presId="urn:microsoft.com/office/officeart/2005/8/layout/default"/>
    <dgm:cxn modelId="{9F48FA20-06B5-43AA-BDDF-09AFECCC4728}" type="presParOf" srcId="{E0C89FD5-07FD-4394-812D-973710E60ED3}" destId="{E9FFE250-7FBD-437E-B88B-8186CAFCB872}" srcOrd="0" destOrd="0" presId="urn:microsoft.com/office/officeart/2005/8/layout/default"/>
    <dgm:cxn modelId="{28780052-04EF-4F49-A1F4-F5685A393FCF}" type="presParOf" srcId="{E0C89FD5-07FD-4394-812D-973710E60ED3}" destId="{AF20B47D-C60D-4CE2-9699-C75D4E73DC72}" srcOrd="1" destOrd="0" presId="urn:microsoft.com/office/officeart/2005/8/layout/default"/>
    <dgm:cxn modelId="{11739512-8199-4620-B60E-3B474FBB9B2D}" type="presParOf" srcId="{E0C89FD5-07FD-4394-812D-973710E60ED3}" destId="{24954EB3-C380-4182-B666-EEB6575BB82A}" srcOrd="2" destOrd="0" presId="urn:microsoft.com/office/officeart/2005/8/layout/default"/>
    <dgm:cxn modelId="{947898B9-CC22-4594-AA52-1AAE0B1C3418}" type="presParOf" srcId="{E0C89FD5-07FD-4394-812D-973710E60ED3}" destId="{60A837F8-24D3-40D7-B1A2-8121CC0C5B59}" srcOrd="3" destOrd="0" presId="urn:microsoft.com/office/officeart/2005/8/layout/default"/>
    <dgm:cxn modelId="{005FB092-FB33-4EAE-BDA6-3AF23A692757}" type="presParOf" srcId="{E0C89FD5-07FD-4394-812D-973710E60ED3}" destId="{2107CA9C-CC16-47C2-9DBB-B69B73877499}"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933017-B2B8-4057-BC11-ADAC1829B0D0}" type="doc">
      <dgm:prSet loTypeId="urn:diagrams.loki3.com/BracketList" loCatId="list" qsTypeId="urn:microsoft.com/office/officeart/2005/8/quickstyle/simple1" qsCatId="simple" csTypeId="urn:microsoft.com/office/officeart/2005/8/colors/colorful1" csCatId="colorful" phldr="1"/>
      <dgm:spPr/>
      <dgm:t>
        <a:bodyPr/>
        <a:lstStyle/>
        <a:p>
          <a:endParaRPr lang="en-US"/>
        </a:p>
      </dgm:t>
    </dgm:pt>
    <dgm:pt modelId="{90EE5C31-096B-4B86-BD59-842FCDB6963E}">
      <dgm:prSet phldrT="[Text]"/>
      <dgm:spPr/>
      <dgm:t>
        <a:bodyPr/>
        <a:lstStyle/>
        <a:p>
          <a:r>
            <a:rPr lang="en-US" dirty="0">
              <a:latin typeface="+mj-lt"/>
            </a:rPr>
            <a:t>Grants</a:t>
          </a:r>
        </a:p>
      </dgm:t>
    </dgm:pt>
    <dgm:pt modelId="{7BF5520B-2EDC-4ADB-9F8A-01883BDC8341}" type="parTrans" cxnId="{F4028957-DF0C-4D52-8447-C18352DF5A8F}">
      <dgm:prSet/>
      <dgm:spPr/>
      <dgm:t>
        <a:bodyPr/>
        <a:lstStyle/>
        <a:p>
          <a:endParaRPr lang="en-US"/>
        </a:p>
      </dgm:t>
    </dgm:pt>
    <dgm:pt modelId="{D7B69F65-48CE-4C62-8BC0-C15B6D0760FD}" type="sibTrans" cxnId="{F4028957-DF0C-4D52-8447-C18352DF5A8F}">
      <dgm:prSet/>
      <dgm:spPr/>
      <dgm:t>
        <a:bodyPr/>
        <a:lstStyle/>
        <a:p>
          <a:endParaRPr lang="en-US"/>
        </a:p>
      </dgm:t>
    </dgm:pt>
    <dgm:pt modelId="{8E5297AC-B64C-4D83-AE52-1B8B28E09D73}">
      <dgm:prSet phldrT="[Text]"/>
      <dgm:spPr/>
      <dgm:t>
        <a:bodyPr/>
        <a:lstStyle/>
        <a:p>
          <a:r>
            <a:rPr lang="en-US" dirty="0">
              <a:latin typeface="+mj-lt"/>
            </a:rPr>
            <a:t>Scholarships</a:t>
          </a:r>
        </a:p>
      </dgm:t>
    </dgm:pt>
    <dgm:pt modelId="{11161C22-1F9D-4A44-A869-C9658E0B29CC}" type="parTrans" cxnId="{54BCD3BA-CBAB-408F-BAD1-B278153C343B}">
      <dgm:prSet/>
      <dgm:spPr/>
      <dgm:t>
        <a:bodyPr/>
        <a:lstStyle/>
        <a:p>
          <a:endParaRPr lang="en-US"/>
        </a:p>
      </dgm:t>
    </dgm:pt>
    <dgm:pt modelId="{779E7DF4-873B-4359-9E78-C53FFDA9A93A}" type="sibTrans" cxnId="{54BCD3BA-CBAB-408F-BAD1-B278153C343B}">
      <dgm:prSet/>
      <dgm:spPr/>
      <dgm:t>
        <a:bodyPr/>
        <a:lstStyle/>
        <a:p>
          <a:endParaRPr lang="en-US"/>
        </a:p>
      </dgm:t>
    </dgm:pt>
    <dgm:pt modelId="{12A0940C-1483-486F-A21E-43C90258DD2F}">
      <dgm:prSet phldrT="[Text]"/>
      <dgm:spPr/>
      <dgm:t>
        <a:bodyPr/>
        <a:lstStyle/>
        <a:p>
          <a:r>
            <a:rPr lang="en-US" dirty="0">
              <a:latin typeface="+mj-lt"/>
            </a:rPr>
            <a:t>Loans</a:t>
          </a:r>
        </a:p>
      </dgm:t>
    </dgm:pt>
    <dgm:pt modelId="{0213DA5C-473D-4A4A-8D9E-36118C5E7E00}" type="parTrans" cxnId="{FF4CC7A3-B32D-4625-8C3D-82CF15C4B591}">
      <dgm:prSet/>
      <dgm:spPr/>
      <dgm:t>
        <a:bodyPr/>
        <a:lstStyle/>
        <a:p>
          <a:endParaRPr lang="en-US"/>
        </a:p>
      </dgm:t>
    </dgm:pt>
    <dgm:pt modelId="{AD4D4A37-FF48-4BB8-A5C7-781CD8F01334}" type="sibTrans" cxnId="{FF4CC7A3-B32D-4625-8C3D-82CF15C4B591}">
      <dgm:prSet/>
      <dgm:spPr/>
      <dgm:t>
        <a:bodyPr/>
        <a:lstStyle/>
        <a:p>
          <a:endParaRPr lang="en-US"/>
        </a:p>
      </dgm:t>
    </dgm:pt>
    <dgm:pt modelId="{73A38630-B75F-4A17-9F22-F5BC8D1FCC6F}">
      <dgm:prSet phldrT="[Text]"/>
      <dgm:spPr/>
      <dgm:t>
        <a:bodyPr/>
        <a:lstStyle/>
        <a:p>
          <a:r>
            <a:rPr lang="en-US" dirty="0">
              <a:latin typeface="+mj-lt"/>
            </a:rPr>
            <a:t>Work Study</a:t>
          </a:r>
        </a:p>
      </dgm:t>
    </dgm:pt>
    <dgm:pt modelId="{0A0D9C3D-7D4A-4723-8C26-3120605C1BA6}" type="parTrans" cxnId="{E0FD1187-C511-4AAE-99D6-A415DF5AE4C8}">
      <dgm:prSet/>
      <dgm:spPr/>
      <dgm:t>
        <a:bodyPr/>
        <a:lstStyle/>
        <a:p>
          <a:endParaRPr lang="en-US"/>
        </a:p>
      </dgm:t>
    </dgm:pt>
    <dgm:pt modelId="{1F8EAC47-10BB-4EC1-B1EC-6689416FC44A}" type="sibTrans" cxnId="{E0FD1187-C511-4AAE-99D6-A415DF5AE4C8}">
      <dgm:prSet/>
      <dgm:spPr/>
      <dgm:t>
        <a:bodyPr/>
        <a:lstStyle/>
        <a:p>
          <a:endParaRPr lang="en-US"/>
        </a:p>
      </dgm:t>
    </dgm:pt>
    <dgm:pt modelId="{16280DF5-1D3F-4B07-8B73-197128146378}">
      <dgm:prSet phldrT="[Text]" custT="1"/>
      <dgm:spPr/>
      <dgm:t>
        <a:bodyPr/>
        <a:lstStyle/>
        <a:p>
          <a:pPr algn="l"/>
          <a:r>
            <a:rPr lang="en-US" sz="2400" dirty="0">
              <a:latin typeface="+mj-lt"/>
            </a:rPr>
            <a:t>Income-based, federal, state and institutional.</a:t>
          </a:r>
        </a:p>
      </dgm:t>
    </dgm:pt>
    <dgm:pt modelId="{576224BD-CF37-4140-8626-857231C94CE4}" type="parTrans" cxnId="{5197F252-4AF4-4195-92E6-A30A4B5ED413}">
      <dgm:prSet/>
      <dgm:spPr/>
      <dgm:t>
        <a:bodyPr/>
        <a:lstStyle/>
        <a:p>
          <a:endParaRPr lang="en-US">
            <a:latin typeface="+mj-lt"/>
          </a:endParaRPr>
        </a:p>
      </dgm:t>
    </dgm:pt>
    <dgm:pt modelId="{28F593D3-F45B-4D85-8307-2F9B9FDDBFA6}" type="sibTrans" cxnId="{5197F252-4AF4-4195-92E6-A30A4B5ED413}">
      <dgm:prSet/>
      <dgm:spPr/>
      <dgm:t>
        <a:bodyPr/>
        <a:lstStyle/>
        <a:p>
          <a:endParaRPr lang="en-US"/>
        </a:p>
      </dgm:t>
    </dgm:pt>
    <dgm:pt modelId="{BB51FF6F-350F-4C51-8DFE-176F415863CB}">
      <dgm:prSet phldrT="[Text]" custT="1"/>
      <dgm:spPr/>
      <dgm:t>
        <a:bodyPr/>
        <a:lstStyle/>
        <a:p>
          <a:pPr algn="l"/>
          <a:r>
            <a:rPr lang="en-US" sz="2400" dirty="0">
              <a:latin typeface="+mj-lt"/>
            </a:rPr>
            <a:t>Merit and income-based, from public, private, and nonprofit sources</a:t>
          </a:r>
          <a:r>
            <a:rPr lang="en-US" sz="1800" dirty="0">
              <a:latin typeface="+mj-lt"/>
            </a:rPr>
            <a:t>.</a:t>
          </a:r>
        </a:p>
      </dgm:t>
    </dgm:pt>
    <dgm:pt modelId="{22BAF00A-6FE3-449C-A1CB-FC635858005D}" type="parTrans" cxnId="{664E889E-F6A8-4BB2-916A-5B3DB469A9F2}">
      <dgm:prSet/>
      <dgm:spPr/>
      <dgm:t>
        <a:bodyPr/>
        <a:lstStyle/>
        <a:p>
          <a:endParaRPr lang="en-US">
            <a:latin typeface="+mj-lt"/>
          </a:endParaRPr>
        </a:p>
      </dgm:t>
    </dgm:pt>
    <dgm:pt modelId="{FCCC54A1-5463-445B-B008-2596E241DC37}" type="sibTrans" cxnId="{664E889E-F6A8-4BB2-916A-5B3DB469A9F2}">
      <dgm:prSet/>
      <dgm:spPr/>
      <dgm:t>
        <a:bodyPr/>
        <a:lstStyle/>
        <a:p>
          <a:endParaRPr lang="en-US"/>
        </a:p>
      </dgm:t>
    </dgm:pt>
    <dgm:pt modelId="{D3923592-2EDB-4935-9F59-81EF8E83FCBF}">
      <dgm:prSet phldrT="[Text]" custT="1"/>
      <dgm:spPr/>
      <dgm:t>
        <a:bodyPr/>
        <a:lstStyle/>
        <a:p>
          <a:pPr algn="l"/>
          <a:r>
            <a:rPr lang="en-US" sz="2400" dirty="0">
              <a:latin typeface="+mj-lt"/>
            </a:rPr>
            <a:t>Income-based, federal and private.</a:t>
          </a:r>
        </a:p>
      </dgm:t>
    </dgm:pt>
    <dgm:pt modelId="{84E33378-229F-4E9F-A813-2BD79F769036}" type="parTrans" cxnId="{28E17EE9-E31D-4EA3-AAA4-4E23A6FCFB24}">
      <dgm:prSet/>
      <dgm:spPr/>
      <dgm:t>
        <a:bodyPr/>
        <a:lstStyle/>
        <a:p>
          <a:endParaRPr lang="en-US">
            <a:latin typeface="+mj-lt"/>
          </a:endParaRPr>
        </a:p>
      </dgm:t>
    </dgm:pt>
    <dgm:pt modelId="{68602D0D-1747-42DF-B170-CCD7F41A347A}" type="sibTrans" cxnId="{28E17EE9-E31D-4EA3-AAA4-4E23A6FCFB24}">
      <dgm:prSet/>
      <dgm:spPr/>
      <dgm:t>
        <a:bodyPr/>
        <a:lstStyle/>
        <a:p>
          <a:endParaRPr lang="en-US"/>
        </a:p>
      </dgm:t>
    </dgm:pt>
    <dgm:pt modelId="{9C7CC5E2-A2E5-4EC1-AFEC-3CE9DD83CE54}">
      <dgm:prSet phldrT="[Text]" custT="1"/>
      <dgm:spPr/>
      <dgm:t>
        <a:bodyPr/>
        <a:lstStyle/>
        <a:p>
          <a:pPr algn="l"/>
          <a:r>
            <a:rPr lang="en-US" sz="2400" dirty="0">
              <a:latin typeface="+mj-lt"/>
            </a:rPr>
            <a:t>Income-based, federal, state and institutional.</a:t>
          </a:r>
        </a:p>
      </dgm:t>
    </dgm:pt>
    <dgm:pt modelId="{8EA6CB68-BDE9-4FC3-B8B5-CA17BFF65963}" type="parTrans" cxnId="{A7CD240D-430F-4C12-90F3-9C23EC0FE8DD}">
      <dgm:prSet/>
      <dgm:spPr/>
      <dgm:t>
        <a:bodyPr/>
        <a:lstStyle/>
        <a:p>
          <a:endParaRPr lang="en-US">
            <a:latin typeface="+mj-lt"/>
          </a:endParaRPr>
        </a:p>
      </dgm:t>
    </dgm:pt>
    <dgm:pt modelId="{DFEFC90F-09E0-4A8A-88E6-D649CDDAD4E1}" type="sibTrans" cxnId="{A7CD240D-430F-4C12-90F3-9C23EC0FE8DD}">
      <dgm:prSet/>
      <dgm:spPr/>
      <dgm:t>
        <a:bodyPr/>
        <a:lstStyle/>
        <a:p>
          <a:endParaRPr lang="en-US"/>
        </a:p>
      </dgm:t>
    </dgm:pt>
    <dgm:pt modelId="{F6F37ABE-EFE8-4824-A259-A31D992E1E10}" type="pres">
      <dgm:prSet presAssocID="{FA933017-B2B8-4057-BC11-ADAC1829B0D0}" presName="Name0" presStyleCnt="0">
        <dgm:presLayoutVars>
          <dgm:dir/>
          <dgm:animLvl val="lvl"/>
          <dgm:resizeHandles val="exact"/>
        </dgm:presLayoutVars>
      </dgm:prSet>
      <dgm:spPr/>
    </dgm:pt>
    <dgm:pt modelId="{A41F3795-2D96-4294-8E1C-5B2C1941E92F}" type="pres">
      <dgm:prSet presAssocID="{90EE5C31-096B-4B86-BD59-842FCDB6963E}" presName="linNode" presStyleCnt="0"/>
      <dgm:spPr/>
    </dgm:pt>
    <dgm:pt modelId="{FAD5B654-FEB8-4E32-B746-763FB1A5A16A}" type="pres">
      <dgm:prSet presAssocID="{90EE5C31-096B-4B86-BD59-842FCDB6963E}" presName="parTx" presStyleLbl="revTx" presStyleIdx="0" presStyleCnt="4">
        <dgm:presLayoutVars>
          <dgm:chMax val="1"/>
          <dgm:bulletEnabled val="1"/>
        </dgm:presLayoutVars>
      </dgm:prSet>
      <dgm:spPr/>
    </dgm:pt>
    <dgm:pt modelId="{2FD81F2E-18BD-4F16-8641-D95F02166BFA}" type="pres">
      <dgm:prSet presAssocID="{90EE5C31-096B-4B86-BD59-842FCDB6963E}" presName="bracket" presStyleLbl="parChTrans1D1" presStyleIdx="0" presStyleCnt="4"/>
      <dgm:spPr/>
    </dgm:pt>
    <dgm:pt modelId="{CA879974-876D-460D-BA95-4EA13424B89D}" type="pres">
      <dgm:prSet presAssocID="{90EE5C31-096B-4B86-BD59-842FCDB6963E}" presName="spH" presStyleCnt="0"/>
      <dgm:spPr/>
    </dgm:pt>
    <dgm:pt modelId="{2703E705-0B03-4174-B8A0-7C6F22E6F6AD}" type="pres">
      <dgm:prSet presAssocID="{90EE5C31-096B-4B86-BD59-842FCDB6963E}" presName="desTx" presStyleLbl="node1" presStyleIdx="0" presStyleCnt="4">
        <dgm:presLayoutVars>
          <dgm:bulletEnabled val="1"/>
        </dgm:presLayoutVars>
      </dgm:prSet>
      <dgm:spPr/>
    </dgm:pt>
    <dgm:pt modelId="{4D3E3842-BF0E-4F96-B4DA-157BD4C6C5EC}" type="pres">
      <dgm:prSet presAssocID="{D7B69F65-48CE-4C62-8BC0-C15B6D0760FD}" presName="spV" presStyleCnt="0"/>
      <dgm:spPr/>
    </dgm:pt>
    <dgm:pt modelId="{EDD78874-4F1B-4574-BAD8-0D121083F3D0}" type="pres">
      <dgm:prSet presAssocID="{8E5297AC-B64C-4D83-AE52-1B8B28E09D73}" presName="linNode" presStyleCnt="0"/>
      <dgm:spPr/>
    </dgm:pt>
    <dgm:pt modelId="{56EE09C3-C486-4583-A78E-BBB2B30395F5}" type="pres">
      <dgm:prSet presAssocID="{8E5297AC-B64C-4D83-AE52-1B8B28E09D73}" presName="parTx" presStyleLbl="revTx" presStyleIdx="1" presStyleCnt="4">
        <dgm:presLayoutVars>
          <dgm:chMax val="1"/>
          <dgm:bulletEnabled val="1"/>
        </dgm:presLayoutVars>
      </dgm:prSet>
      <dgm:spPr/>
    </dgm:pt>
    <dgm:pt modelId="{91DF9F53-75B6-4E19-8D46-ABB4E2152961}" type="pres">
      <dgm:prSet presAssocID="{8E5297AC-B64C-4D83-AE52-1B8B28E09D73}" presName="bracket" presStyleLbl="parChTrans1D1" presStyleIdx="1" presStyleCnt="4"/>
      <dgm:spPr/>
    </dgm:pt>
    <dgm:pt modelId="{5FE10304-C8D8-4C2C-BEC1-8E3C1777207E}" type="pres">
      <dgm:prSet presAssocID="{8E5297AC-B64C-4D83-AE52-1B8B28E09D73}" presName="spH" presStyleCnt="0"/>
      <dgm:spPr/>
    </dgm:pt>
    <dgm:pt modelId="{ABDBBDCF-8A60-4303-A17C-04E42FDD3835}" type="pres">
      <dgm:prSet presAssocID="{8E5297AC-B64C-4D83-AE52-1B8B28E09D73}" presName="desTx" presStyleLbl="node1" presStyleIdx="1" presStyleCnt="4">
        <dgm:presLayoutVars>
          <dgm:bulletEnabled val="1"/>
        </dgm:presLayoutVars>
      </dgm:prSet>
      <dgm:spPr/>
    </dgm:pt>
    <dgm:pt modelId="{07AA5BC4-FEEC-47F2-A9F3-0DEA35615258}" type="pres">
      <dgm:prSet presAssocID="{779E7DF4-873B-4359-9E78-C53FFDA9A93A}" presName="spV" presStyleCnt="0"/>
      <dgm:spPr/>
    </dgm:pt>
    <dgm:pt modelId="{E52B1E3B-F31B-4367-8373-55078DEEADC2}" type="pres">
      <dgm:prSet presAssocID="{12A0940C-1483-486F-A21E-43C90258DD2F}" presName="linNode" presStyleCnt="0"/>
      <dgm:spPr/>
    </dgm:pt>
    <dgm:pt modelId="{93403FB3-33D5-4C8B-AA32-D75B19FB710D}" type="pres">
      <dgm:prSet presAssocID="{12A0940C-1483-486F-A21E-43C90258DD2F}" presName="parTx" presStyleLbl="revTx" presStyleIdx="2" presStyleCnt="4">
        <dgm:presLayoutVars>
          <dgm:chMax val="1"/>
          <dgm:bulletEnabled val="1"/>
        </dgm:presLayoutVars>
      </dgm:prSet>
      <dgm:spPr/>
    </dgm:pt>
    <dgm:pt modelId="{F7CC5CB3-2D75-4147-BA7F-40D21C0E20E4}" type="pres">
      <dgm:prSet presAssocID="{12A0940C-1483-486F-A21E-43C90258DD2F}" presName="bracket" presStyleLbl="parChTrans1D1" presStyleIdx="2" presStyleCnt="4"/>
      <dgm:spPr/>
    </dgm:pt>
    <dgm:pt modelId="{1E13F1C3-BACA-47E8-A9AA-2AE02F216AF3}" type="pres">
      <dgm:prSet presAssocID="{12A0940C-1483-486F-A21E-43C90258DD2F}" presName="spH" presStyleCnt="0"/>
      <dgm:spPr/>
    </dgm:pt>
    <dgm:pt modelId="{0D63E467-6CB0-4EB5-A08F-BC86FE6758EF}" type="pres">
      <dgm:prSet presAssocID="{12A0940C-1483-486F-A21E-43C90258DD2F}" presName="desTx" presStyleLbl="node1" presStyleIdx="2" presStyleCnt="4">
        <dgm:presLayoutVars>
          <dgm:bulletEnabled val="1"/>
        </dgm:presLayoutVars>
      </dgm:prSet>
      <dgm:spPr/>
    </dgm:pt>
    <dgm:pt modelId="{0900608A-A045-4A36-A3B9-DA523FEA5579}" type="pres">
      <dgm:prSet presAssocID="{AD4D4A37-FF48-4BB8-A5C7-781CD8F01334}" presName="spV" presStyleCnt="0"/>
      <dgm:spPr/>
    </dgm:pt>
    <dgm:pt modelId="{563E13D8-AC22-4BAD-A6DD-EF2C77C409CA}" type="pres">
      <dgm:prSet presAssocID="{73A38630-B75F-4A17-9F22-F5BC8D1FCC6F}" presName="linNode" presStyleCnt="0"/>
      <dgm:spPr/>
    </dgm:pt>
    <dgm:pt modelId="{23100991-60CA-4572-8BDF-8E00DA802B54}" type="pres">
      <dgm:prSet presAssocID="{73A38630-B75F-4A17-9F22-F5BC8D1FCC6F}" presName="parTx" presStyleLbl="revTx" presStyleIdx="3" presStyleCnt="4">
        <dgm:presLayoutVars>
          <dgm:chMax val="1"/>
          <dgm:bulletEnabled val="1"/>
        </dgm:presLayoutVars>
      </dgm:prSet>
      <dgm:spPr/>
    </dgm:pt>
    <dgm:pt modelId="{467119F5-1DD1-4F75-BADB-387AD4E21238}" type="pres">
      <dgm:prSet presAssocID="{73A38630-B75F-4A17-9F22-F5BC8D1FCC6F}" presName="bracket" presStyleLbl="parChTrans1D1" presStyleIdx="3" presStyleCnt="4"/>
      <dgm:spPr/>
    </dgm:pt>
    <dgm:pt modelId="{99807424-68BF-4868-90BA-34D6AF7DCE8A}" type="pres">
      <dgm:prSet presAssocID="{73A38630-B75F-4A17-9F22-F5BC8D1FCC6F}" presName="spH" presStyleCnt="0"/>
      <dgm:spPr/>
    </dgm:pt>
    <dgm:pt modelId="{8F2AEA0C-0AE6-4728-B17D-AB8E113EB58C}" type="pres">
      <dgm:prSet presAssocID="{73A38630-B75F-4A17-9F22-F5BC8D1FCC6F}" presName="desTx" presStyleLbl="node1" presStyleIdx="3" presStyleCnt="4">
        <dgm:presLayoutVars>
          <dgm:bulletEnabled val="1"/>
        </dgm:presLayoutVars>
      </dgm:prSet>
      <dgm:spPr/>
    </dgm:pt>
  </dgm:ptLst>
  <dgm:cxnLst>
    <dgm:cxn modelId="{A7CD240D-430F-4C12-90F3-9C23EC0FE8DD}" srcId="{73A38630-B75F-4A17-9F22-F5BC8D1FCC6F}" destId="{9C7CC5E2-A2E5-4EC1-AFEC-3CE9DD83CE54}" srcOrd="0" destOrd="0" parTransId="{8EA6CB68-BDE9-4FC3-B8B5-CA17BFF65963}" sibTransId="{DFEFC90F-09E0-4A8A-88E6-D649CDDAD4E1}"/>
    <dgm:cxn modelId="{01B36A16-6AB6-477D-BCEA-4EAEBF2C8B22}" type="presOf" srcId="{90EE5C31-096B-4B86-BD59-842FCDB6963E}" destId="{FAD5B654-FEB8-4E32-B746-763FB1A5A16A}" srcOrd="0" destOrd="0" presId="urn:diagrams.loki3.com/BracketList"/>
    <dgm:cxn modelId="{C853C831-EC89-44D3-8289-07CC0F5CBE4D}" type="presOf" srcId="{FA933017-B2B8-4057-BC11-ADAC1829B0D0}" destId="{F6F37ABE-EFE8-4824-A259-A31D992E1E10}" srcOrd="0" destOrd="0" presId="urn:diagrams.loki3.com/BracketList"/>
    <dgm:cxn modelId="{5197F252-4AF4-4195-92E6-A30A4B5ED413}" srcId="{90EE5C31-096B-4B86-BD59-842FCDB6963E}" destId="{16280DF5-1D3F-4B07-8B73-197128146378}" srcOrd="0" destOrd="0" parTransId="{576224BD-CF37-4140-8626-857231C94CE4}" sibTransId="{28F593D3-F45B-4D85-8307-2F9B9FDDBFA6}"/>
    <dgm:cxn modelId="{F4028957-DF0C-4D52-8447-C18352DF5A8F}" srcId="{FA933017-B2B8-4057-BC11-ADAC1829B0D0}" destId="{90EE5C31-096B-4B86-BD59-842FCDB6963E}" srcOrd="0" destOrd="0" parTransId="{7BF5520B-2EDC-4ADB-9F8A-01883BDC8341}" sibTransId="{D7B69F65-48CE-4C62-8BC0-C15B6D0760FD}"/>
    <dgm:cxn modelId="{E0FD1187-C511-4AAE-99D6-A415DF5AE4C8}" srcId="{FA933017-B2B8-4057-BC11-ADAC1829B0D0}" destId="{73A38630-B75F-4A17-9F22-F5BC8D1FCC6F}" srcOrd="3" destOrd="0" parTransId="{0A0D9C3D-7D4A-4723-8C26-3120605C1BA6}" sibTransId="{1F8EAC47-10BB-4EC1-B1EC-6689416FC44A}"/>
    <dgm:cxn modelId="{5A680B8D-3290-4608-A80F-124B85BB909B}" type="presOf" srcId="{9C7CC5E2-A2E5-4EC1-AFEC-3CE9DD83CE54}" destId="{8F2AEA0C-0AE6-4728-B17D-AB8E113EB58C}" srcOrd="0" destOrd="0" presId="urn:diagrams.loki3.com/BracketList"/>
    <dgm:cxn modelId="{664E889E-F6A8-4BB2-916A-5B3DB469A9F2}" srcId="{8E5297AC-B64C-4D83-AE52-1B8B28E09D73}" destId="{BB51FF6F-350F-4C51-8DFE-176F415863CB}" srcOrd="0" destOrd="0" parTransId="{22BAF00A-6FE3-449C-A1CB-FC635858005D}" sibTransId="{FCCC54A1-5463-445B-B008-2596E241DC37}"/>
    <dgm:cxn modelId="{977459A0-5E93-430D-B800-233493C3B02E}" type="presOf" srcId="{D3923592-2EDB-4935-9F59-81EF8E83FCBF}" destId="{0D63E467-6CB0-4EB5-A08F-BC86FE6758EF}" srcOrd="0" destOrd="0" presId="urn:diagrams.loki3.com/BracketList"/>
    <dgm:cxn modelId="{FF4CC7A3-B32D-4625-8C3D-82CF15C4B591}" srcId="{FA933017-B2B8-4057-BC11-ADAC1829B0D0}" destId="{12A0940C-1483-486F-A21E-43C90258DD2F}" srcOrd="2" destOrd="0" parTransId="{0213DA5C-473D-4A4A-8D9E-36118C5E7E00}" sibTransId="{AD4D4A37-FF48-4BB8-A5C7-781CD8F01334}"/>
    <dgm:cxn modelId="{667F4BAB-2504-42ED-834D-5A3FB7361AAF}" type="presOf" srcId="{16280DF5-1D3F-4B07-8B73-197128146378}" destId="{2703E705-0B03-4174-B8A0-7C6F22E6F6AD}" srcOrd="0" destOrd="0" presId="urn:diagrams.loki3.com/BracketList"/>
    <dgm:cxn modelId="{06B317B8-9E1E-46D4-8B4C-F47E25A8984B}" type="presOf" srcId="{BB51FF6F-350F-4C51-8DFE-176F415863CB}" destId="{ABDBBDCF-8A60-4303-A17C-04E42FDD3835}" srcOrd="0" destOrd="0" presId="urn:diagrams.loki3.com/BracketList"/>
    <dgm:cxn modelId="{54BCD3BA-CBAB-408F-BAD1-B278153C343B}" srcId="{FA933017-B2B8-4057-BC11-ADAC1829B0D0}" destId="{8E5297AC-B64C-4D83-AE52-1B8B28E09D73}" srcOrd="1" destOrd="0" parTransId="{11161C22-1F9D-4A44-A869-C9658E0B29CC}" sibTransId="{779E7DF4-873B-4359-9E78-C53FFDA9A93A}"/>
    <dgm:cxn modelId="{45318ACE-1115-4093-B0A7-50C7FDE9D7F1}" type="presOf" srcId="{8E5297AC-B64C-4D83-AE52-1B8B28E09D73}" destId="{56EE09C3-C486-4583-A78E-BBB2B30395F5}" srcOrd="0" destOrd="0" presId="urn:diagrams.loki3.com/BracketList"/>
    <dgm:cxn modelId="{8D403BE9-D1D2-49F1-A07F-8608BDAE31DD}" type="presOf" srcId="{12A0940C-1483-486F-A21E-43C90258DD2F}" destId="{93403FB3-33D5-4C8B-AA32-D75B19FB710D}" srcOrd="0" destOrd="0" presId="urn:diagrams.loki3.com/BracketList"/>
    <dgm:cxn modelId="{28E17EE9-E31D-4EA3-AAA4-4E23A6FCFB24}" srcId="{12A0940C-1483-486F-A21E-43C90258DD2F}" destId="{D3923592-2EDB-4935-9F59-81EF8E83FCBF}" srcOrd="0" destOrd="0" parTransId="{84E33378-229F-4E9F-A813-2BD79F769036}" sibTransId="{68602D0D-1747-42DF-B170-CCD7F41A347A}"/>
    <dgm:cxn modelId="{E36BD3F0-C7FB-4EA0-907A-1E4653BC6DCC}" type="presOf" srcId="{73A38630-B75F-4A17-9F22-F5BC8D1FCC6F}" destId="{23100991-60CA-4572-8BDF-8E00DA802B54}" srcOrd="0" destOrd="0" presId="urn:diagrams.loki3.com/BracketList"/>
    <dgm:cxn modelId="{CEB0E33E-E17D-4D8B-B90F-8703E96C5D98}" type="presParOf" srcId="{F6F37ABE-EFE8-4824-A259-A31D992E1E10}" destId="{A41F3795-2D96-4294-8E1C-5B2C1941E92F}" srcOrd="0" destOrd="0" presId="urn:diagrams.loki3.com/BracketList"/>
    <dgm:cxn modelId="{22F811A6-8C1D-4CFC-812C-C271BA3CB2D6}" type="presParOf" srcId="{A41F3795-2D96-4294-8E1C-5B2C1941E92F}" destId="{FAD5B654-FEB8-4E32-B746-763FB1A5A16A}" srcOrd="0" destOrd="0" presId="urn:diagrams.loki3.com/BracketList"/>
    <dgm:cxn modelId="{BC68EA96-6EB3-4B54-8DF6-01B044A4EEB6}" type="presParOf" srcId="{A41F3795-2D96-4294-8E1C-5B2C1941E92F}" destId="{2FD81F2E-18BD-4F16-8641-D95F02166BFA}" srcOrd="1" destOrd="0" presId="urn:diagrams.loki3.com/BracketList"/>
    <dgm:cxn modelId="{12ADF30C-FFF7-4148-9612-D188B5B332EF}" type="presParOf" srcId="{A41F3795-2D96-4294-8E1C-5B2C1941E92F}" destId="{CA879974-876D-460D-BA95-4EA13424B89D}" srcOrd="2" destOrd="0" presId="urn:diagrams.loki3.com/BracketList"/>
    <dgm:cxn modelId="{71614880-295E-4406-A102-BBB1BB939BE0}" type="presParOf" srcId="{A41F3795-2D96-4294-8E1C-5B2C1941E92F}" destId="{2703E705-0B03-4174-B8A0-7C6F22E6F6AD}" srcOrd="3" destOrd="0" presId="urn:diagrams.loki3.com/BracketList"/>
    <dgm:cxn modelId="{F8DEEB5C-0E27-44BF-8B26-C6B5638AEDAD}" type="presParOf" srcId="{F6F37ABE-EFE8-4824-A259-A31D992E1E10}" destId="{4D3E3842-BF0E-4F96-B4DA-157BD4C6C5EC}" srcOrd="1" destOrd="0" presId="urn:diagrams.loki3.com/BracketList"/>
    <dgm:cxn modelId="{6C85CFAE-A8EC-4E9C-9AAA-120DEA33F12A}" type="presParOf" srcId="{F6F37ABE-EFE8-4824-A259-A31D992E1E10}" destId="{EDD78874-4F1B-4574-BAD8-0D121083F3D0}" srcOrd="2" destOrd="0" presId="urn:diagrams.loki3.com/BracketList"/>
    <dgm:cxn modelId="{A9A3F891-CE3F-417F-ACFC-2FCC09C440AD}" type="presParOf" srcId="{EDD78874-4F1B-4574-BAD8-0D121083F3D0}" destId="{56EE09C3-C486-4583-A78E-BBB2B30395F5}" srcOrd="0" destOrd="0" presId="urn:diagrams.loki3.com/BracketList"/>
    <dgm:cxn modelId="{8FCE934E-D0E3-4AE9-9AC7-B33769F467B3}" type="presParOf" srcId="{EDD78874-4F1B-4574-BAD8-0D121083F3D0}" destId="{91DF9F53-75B6-4E19-8D46-ABB4E2152961}" srcOrd="1" destOrd="0" presId="urn:diagrams.loki3.com/BracketList"/>
    <dgm:cxn modelId="{423732A2-F3A4-40A8-9B09-3F72D31F5A67}" type="presParOf" srcId="{EDD78874-4F1B-4574-BAD8-0D121083F3D0}" destId="{5FE10304-C8D8-4C2C-BEC1-8E3C1777207E}" srcOrd="2" destOrd="0" presId="urn:diagrams.loki3.com/BracketList"/>
    <dgm:cxn modelId="{0E9EBE0D-FBD6-4C3B-836E-C064259A7EAA}" type="presParOf" srcId="{EDD78874-4F1B-4574-BAD8-0D121083F3D0}" destId="{ABDBBDCF-8A60-4303-A17C-04E42FDD3835}" srcOrd="3" destOrd="0" presId="urn:diagrams.loki3.com/BracketList"/>
    <dgm:cxn modelId="{6ED018EE-B19E-4C07-ADBE-F94C1FCA67F6}" type="presParOf" srcId="{F6F37ABE-EFE8-4824-A259-A31D992E1E10}" destId="{07AA5BC4-FEEC-47F2-A9F3-0DEA35615258}" srcOrd="3" destOrd="0" presId="urn:diagrams.loki3.com/BracketList"/>
    <dgm:cxn modelId="{1F45CEC4-9A24-49EA-BA52-226BF879D73D}" type="presParOf" srcId="{F6F37ABE-EFE8-4824-A259-A31D992E1E10}" destId="{E52B1E3B-F31B-4367-8373-55078DEEADC2}" srcOrd="4" destOrd="0" presId="urn:diagrams.loki3.com/BracketList"/>
    <dgm:cxn modelId="{B2D9A9F2-9A6E-427D-B038-A200565B34DA}" type="presParOf" srcId="{E52B1E3B-F31B-4367-8373-55078DEEADC2}" destId="{93403FB3-33D5-4C8B-AA32-D75B19FB710D}" srcOrd="0" destOrd="0" presId="urn:diagrams.loki3.com/BracketList"/>
    <dgm:cxn modelId="{75CD31B5-8148-473E-86DE-71F1F6DA1391}" type="presParOf" srcId="{E52B1E3B-F31B-4367-8373-55078DEEADC2}" destId="{F7CC5CB3-2D75-4147-BA7F-40D21C0E20E4}" srcOrd="1" destOrd="0" presId="urn:diagrams.loki3.com/BracketList"/>
    <dgm:cxn modelId="{FE7E9864-1D51-4F25-AB43-E28F0A88CCD6}" type="presParOf" srcId="{E52B1E3B-F31B-4367-8373-55078DEEADC2}" destId="{1E13F1C3-BACA-47E8-A9AA-2AE02F216AF3}" srcOrd="2" destOrd="0" presId="urn:diagrams.loki3.com/BracketList"/>
    <dgm:cxn modelId="{ADD96E4D-3A1C-4ACC-B88F-DDD842F4A63F}" type="presParOf" srcId="{E52B1E3B-F31B-4367-8373-55078DEEADC2}" destId="{0D63E467-6CB0-4EB5-A08F-BC86FE6758EF}" srcOrd="3" destOrd="0" presId="urn:diagrams.loki3.com/BracketList"/>
    <dgm:cxn modelId="{0EFDDB30-0063-434C-9351-22987C809B3E}" type="presParOf" srcId="{F6F37ABE-EFE8-4824-A259-A31D992E1E10}" destId="{0900608A-A045-4A36-A3B9-DA523FEA5579}" srcOrd="5" destOrd="0" presId="urn:diagrams.loki3.com/BracketList"/>
    <dgm:cxn modelId="{8515F13B-C689-4A68-BC00-3CE515F3C4DA}" type="presParOf" srcId="{F6F37ABE-EFE8-4824-A259-A31D992E1E10}" destId="{563E13D8-AC22-4BAD-A6DD-EF2C77C409CA}" srcOrd="6" destOrd="0" presId="urn:diagrams.loki3.com/BracketList"/>
    <dgm:cxn modelId="{F34A92E4-D768-4BD7-A2EC-6DC0A01C4706}" type="presParOf" srcId="{563E13D8-AC22-4BAD-A6DD-EF2C77C409CA}" destId="{23100991-60CA-4572-8BDF-8E00DA802B54}" srcOrd="0" destOrd="0" presId="urn:diagrams.loki3.com/BracketList"/>
    <dgm:cxn modelId="{B97F98CE-8522-4630-8B5F-3532ACC1A54D}" type="presParOf" srcId="{563E13D8-AC22-4BAD-A6DD-EF2C77C409CA}" destId="{467119F5-1DD1-4F75-BADB-387AD4E21238}" srcOrd="1" destOrd="0" presId="urn:diagrams.loki3.com/BracketList"/>
    <dgm:cxn modelId="{D8914B94-7315-4513-95B0-7C842A37392A}" type="presParOf" srcId="{563E13D8-AC22-4BAD-A6DD-EF2C77C409CA}" destId="{99807424-68BF-4868-90BA-34D6AF7DCE8A}" srcOrd="2" destOrd="0" presId="urn:diagrams.loki3.com/BracketList"/>
    <dgm:cxn modelId="{E1EA289C-DF4F-45E4-9023-9D334B0FA3F4}" type="presParOf" srcId="{563E13D8-AC22-4BAD-A6DD-EF2C77C409CA}" destId="{8F2AEA0C-0AE6-4728-B17D-AB8E113EB58C}" srcOrd="3" destOrd="0" presId="urn:diagrams.loki3.com/Bracke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81B89AD-3F73-4990-9D74-E8ADE629666B}"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D65A3CC5-8590-4BFD-8DF2-29C9B465C4E1}">
      <dgm:prSet phldrT="[Text]"/>
      <dgm:spPr/>
      <dgm:t>
        <a:bodyPr/>
        <a:lstStyle/>
        <a:p>
          <a:r>
            <a:rPr lang="en-US" b="1" dirty="0">
              <a:latin typeface="+mj-lt"/>
            </a:rPr>
            <a:t>Explore Your Options</a:t>
          </a:r>
          <a:endParaRPr lang="en-US" dirty="0">
            <a:latin typeface="+mj-lt"/>
          </a:endParaRPr>
        </a:p>
      </dgm:t>
    </dgm:pt>
    <dgm:pt modelId="{F2AEE115-7E29-4463-82E6-A2DF7567C7CB}" type="parTrans" cxnId="{CE220BB7-2078-4310-8738-BA589720ACDD}">
      <dgm:prSet/>
      <dgm:spPr/>
      <dgm:t>
        <a:bodyPr/>
        <a:lstStyle/>
        <a:p>
          <a:endParaRPr lang="en-US"/>
        </a:p>
      </dgm:t>
    </dgm:pt>
    <dgm:pt modelId="{D53FD6B6-CC5C-4AD5-9892-7E8A4546E29C}" type="sibTrans" cxnId="{CE220BB7-2078-4310-8738-BA589720ACDD}">
      <dgm:prSet/>
      <dgm:spPr/>
      <dgm:t>
        <a:bodyPr/>
        <a:lstStyle/>
        <a:p>
          <a:endParaRPr lang="en-US"/>
        </a:p>
      </dgm:t>
    </dgm:pt>
    <dgm:pt modelId="{3262C2F3-E5CB-418F-9C31-33CEB313C703}">
      <dgm:prSet/>
      <dgm:spPr/>
      <dgm:t>
        <a:bodyPr/>
        <a:lstStyle/>
        <a:p>
          <a:r>
            <a:rPr lang="en-US" b="1" dirty="0">
              <a:latin typeface="+mj-lt"/>
            </a:rPr>
            <a:t>Determine Which Financial Aid Application To Use</a:t>
          </a:r>
        </a:p>
      </dgm:t>
    </dgm:pt>
    <dgm:pt modelId="{6E165511-F5B0-4210-B004-9BB1724C1457}" type="parTrans" cxnId="{7D95A29B-4528-4B7A-88AF-DC9D5C235C89}">
      <dgm:prSet/>
      <dgm:spPr/>
      <dgm:t>
        <a:bodyPr/>
        <a:lstStyle/>
        <a:p>
          <a:endParaRPr lang="en-US"/>
        </a:p>
      </dgm:t>
    </dgm:pt>
    <dgm:pt modelId="{8EB237BF-F4B3-44DE-B5E5-E76BBDC72EC8}" type="sibTrans" cxnId="{7D95A29B-4528-4B7A-88AF-DC9D5C235C89}">
      <dgm:prSet/>
      <dgm:spPr/>
      <dgm:t>
        <a:bodyPr/>
        <a:lstStyle/>
        <a:p>
          <a:endParaRPr lang="en-US"/>
        </a:p>
      </dgm:t>
    </dgm:pt>
    <dgm:pt modelId="{BF029153-58F8-42CA-970C-30AE7C2393BF}">
      <dgm:prSet custT="1"/>
      <dgm:spPr/>
      <dgm:t>
        <a:bodyPr/>
        <a:lstStyle/>
        <a:p>
          <a:r>
            <a:rPr lang="en-US" sz="2400" dirty="0">
              <a:solidFill>
                <a:schemeClr val="tx1"/>
              </a:solidFill>
              <a:latin typeface="+mj-lt"/>
            </a:rPr>
            <a:t>If you are not sure which application to complete go to </a:t>
          </a:r>
          <a:r>
            <a:rPr lang="en-US" sz="2400" dirty="0">
              <a:latin typeface="+mj-lt"/>
              <a:hlinkClick xmlns:r="http://schemas.openxmlformats.org/officeDocument/2006/relationships" r:id="rId1"/>
            </a:rPr>
            <a:t>https://wsac.wa.gov/WASFAelig</a:t>
          </a:r>
          <a:endParaRPr lang="en-US" sz="2400" dirty="0">
            <a:solidFill>
              <a:schemeClr val="tx1"/>
            </a:solidFill>
            <a:latin typeface="+mj-lt"/>
          </a:endParaRPr>
        </a:p>
      </dgm:t>
    </dgm:pt>
    <dgm:pt modelId="{59C732EF-9465-4999-BABE-2C6FB3C3BCA1}" type="parTrans" cxnId="{19EF3585-E76F-4722-9587-F9A5BAFAADBC}">
      <dgm:prSet/>
      <dgm:spPr/>
      <dgm:t>
        <a:bodyPr/>
        <a:lstStyle/>
        <a:p>
          <a:endParaRPr lang="en-US"/>
        </a:p>
      </dgm:t>
    </dgm:pt>
    <dgm:pt modelId="{6F211C7A-B018-4888-8E19-5B0F2920628E}" type="sibTrans" cxnId="{19EF3585-E76F-4722-9587-F9A5BAFAADBC}">
      <dgm:prSet/>
      <dgm:spPr/>
      <dgm:t>
        <a:bodyPr/>
        <a:lstStyle/>
        <a:p>
          <a:endParaRPr lang="en-US"/>
        </a:p>
      </dgm:t>
    </dgm:pt>
    <dgm:pt modelId="{09A6FE77-E71D-41CA-B3F8-74C367B4CD82}">
      <dgm:prSet/>
      <dgm:spPr/>
      <dgm:t>
        <a:bodyPr/>
        <a:lstStyle/>
        <a:p>
          <a:r>
            <a:rPr lang="en-US" b="1" dirty="0">
              <a:latin typeface="+mj-lt"/>
            </a:rPr>
            <a:t>Create an FSA ID or WASFA Account</a:t>
          </a:r>
        </a:p>
      </dgm:t>
    </dgm:pt>
    <dgm:pt modelId="{8286034B-1442-4028-A49C-12D15D252EE6}" type="parTrans" cxnId="{2A4D23E4-7217-466E-8A17-DAB7A81123A4}">
      <dgm:prSet/>
      <dgm:spPr/>
      <dgm:t>
        <a:bodyPr/>
        <a:lstStyle/>
        <a:p>
          <a:endParaRPr lang="en-US"/>
        </a:p>
      </dgm:t>
    </dgm:pt>
    <dgm:pt modelId="{790263D6-FB36-47B9-8955-A3FA8506C090}" type="sibTrans" cxnId="{2A4D23E4-7217-466E-8A17-DAB7A81123A4}">
      <dgm:prSet/>
      <dgm:spPr/>
      <dgm:t>
        <a:bodyPr/>
        <a:lstStyle/>
        <a:p>
          <a:endParaRPr lang="en-US"/>
        </a:p>
      </dgm:t>
    </dgm:pt>
    <dgm:pt modelId="{3B547FB7-E5D9-4FA4-991B-06EF83FD5518}">
      <dgm:prSet custT="1"/>
      <dgm:spPr/>
      <dgm:t>
        <a:bodyPr/>
        <a:lstStyle/>
        <a:p>
          <a:r>
            <a:rPr lang="en-US" sz="2400" dirty="0">
              <a:solidFill>
                <a:schemeClr val="tx1"/>
              </a:solidFill>
              <a:latin typeface="+mj-lt"/>
            </a:rPr>
            <a:t>You can create an FSA ID by going to </a:t>
          </a:r>
          <a:r>
            <a:rPr lang="en-US" sz="2400" dirty="0">
              <a:latin typeface="+mj-lt"/>
              <a:hlinkClick xmlns:r="http://schemas.openxmlformats.org/officeDocument/2006/relationships" r:id="rId2"/>
            </a:rPr>
            <a:t>https://fsaid.ed.gov/npas/index.htm</a:t>
          </a:r>
          <a:endParaRPr lang="en-US" sz="2400" dirty="0">
            <a:solidFill>
              <a:schemeClr val="tx1"/>
            </a:solidFill>
            <a:latin typeface="+mj-lt"/>
          </a:endParaRPr>
        </a:p>
      </dgm:t>
    </dgm:pt>
    <dgm:pt modelId="{952007B9-55EB-48C7-A8B0-8ED02E6EBB29}" type="parTrans" cxnId="{25AA37AD-E170-49DE-A464-322AA483C7B6}">
      <dgm:prSet/>
      <dgm:spPr/>
      <dgm:t>
        <a:bodyPr/>
        <a:lstStyle/>
        <a:p>
          <a:endParaRPr lang="en-US"/>
        </a:p>
      </dgm:t>
    </dgm:pt>
    <dgm:pt modelId="{B164F85F-DFBF-4B41-958A-BCE71E675409}" type="sibTrans" cxnId="{25AA37AD-E170-49DE-A464-322AA483C7B6}">
      <dgm:prSet/>
      <dgm:spPr/>
      <dgm:t>
        <a:bodyPr/>
        <a:lstStyle/>
        <a:p>
          <a:endParaRPr lang="en-US"/>
        </a:p>
      </dgm:t>
    </dgm:pt>
    <dgm:pt modelId="{89C14BE0-D286-4CFE-8313-5B4EE9CC1A08}">
      <dgm:prSet custT="1"/>
      <dgm:spPr/>
      <dgm:t>
        <a:bodyPr/>
        <a:lstStyle/>
        <a:p>
          <a:r>
            <a:rPr lang="en-US" sz="2400" dirty="0">
              <a:solidFill>
                <a:schemeClr val="tx1"/>
              </a:solidFill>
              <a:latin typeface="+mj-lt"/>
            </a:rPr>
            <a:t>Explore your post secondary options using your high school and beyond plan.</a:t>
          </a:r>
        </a:p>
      </dgm:t>
    </dgm:pt>
    <dgm:pt modelId="{4F44ECFD-3695-48D0-A5EC-C4E50B6DCBA9}" type="parTrans" cxnId="{26462BAE-D1E8-43CF-94ED-0B84108304A0}">
      <dgm:prSet/>
      <dgm:spPr/>
      <dgm:t>
        <a:bodyPr/>
        <a:lstStyle/>
        <a:p>
          <a:endParaRPr lang="en-US"/>
        </a:p>
      </dgm:t>
    </dgm:pt>
    <dgm:pt modelId="{12367C51-7D2F-4FC8-8DC1-58D244869289}" type="sibTrans" cxnId="{26462BAE-D1E8-43CF-94ED-0B84108304A0}">
      <dgm:prSet/>
      <dgm:spPr/>
      <dgm:t>
        <a:bodyPr/>
        <a:lstStyle/>
        <a:p>
          <a:endParaRPr lang="en-US"/>
        </a:p>
      </dgm:t>
    </dgm:pt>
    <dgm:pt modelId="{BC70033C-3E41-4AF2-9E30-E99300147C49}">
      <dgm:prSet custT="1"/>
      <dgm:spPr/>
      <dgm:t>
        <a:bodyPr/>
        <a:lstStyle/>
        <a:p>
          <a:r>
            <a:rPr lang="en-US" sz="2400" dirty="0">
              <a:solidFill>
                <a:schemeClr val="tx1"/>
              </a:solidFill>
              <a:latin typeface="+mj-lt"/>
            </a:rPr>
            <a:t>You can create a WASFA account by going to </a:t>
          </a:r>
          <a:r>
            <a:rPr lang="en-US" sz="2400" dirty="0">
              <a:latin typeface="+mj-lt"/>
              <a:hlinkClick xmlns:r="http://schemas.openxmlformats.org/officeDocument/2006/relationships" r:id="rId1"/>
            </a:rPr>
            <a:t>https://wsac.wa.gov/WASFAelig</a:t>
          </a:r>
          <a:endParaRPr lang="en-US" sz="2400" dirty="0">
            <a:solidFill>
              <a:schemeClr val="tx1"/>
            </a:solidFill>
            <a:latin typeface="+mj-lt"/>
          </a:endParaRPr>
        </a:p>
      </dgm:t>
    </dgm:pt>
    <dgm:pt modelId="{7AF1DB3F-08EF-47AD-AF4C-87EB335E456B}" type="parTrans" cxnId="{9981E1FF-9F8A-4BF2-9BB9-0C2960E8F74D}">
      <dgm:prSet/>
      <dgm:spPr/>
      <dgm:t>
        <a:bodyPr/>
        <a:lstStyle/>
        <a:p>
          <a:endParaRPr lang="en-US"/>
        </a:p>
      </dgm:t>
    </dgm:pt>
    <dgm:pt modelId="{13DEBC40-9BB9-45DF-AFED-E095E8E47685}" type="sibTrans" cxnId="{9981E1FF-9F8A-4BF2-9BB9-0C2960E8F74D}">
      <dgm:prSet/>
      <dgm:spPr/>
      <dgm:t>
        <a:bodyPr/>
        <a:lstStyle/>
        <a:p>
          <a:endParaRPr lang="en-US"/>
        </a:p>
      </dgm:t>
    </dgm:pt>
    <dgm:pt modelId="{3956EEFE-B2F4-4635-B92E-1DB969AE04C6}">
      <dgm:prSet custT="1"/>
      <dgm:spPr/>
      <dgm:t>
        <a:bodyPr/>
        <a:lstStyle/>
        <a:p>
          <a:r>
            <a:rPr lang="en-US" sz="2400" dirty="0">
              <a:solidFill>
                <a:schemeClr val="tx1"/>
              </a:solidFill>
              <a:latin typeface="+mj-lt"/>
            </a:rPr>
            <a:t>Talk to your counselor to make sure you are on track for graduation.</a:t>
          </a:r>
        </a:p>
      </dgm:t>
    </dgm:pt>
    <dgm:pt modelId="{005525D8-B891-48A9-90C1-93BD3F99FF1B}" type="parTrans" cxnId="{BEBE5A98-53AF-49A8-A719-875ED43245AD}">
      <dgm:prSet/>
      <dgm:spPr/>
      <dgm:t>
        <a:bodyPr/>
        <a:lstStyle/>
        <a:p>
          <a:endParaRPr lang="en-US"/>
        </a:p>
      </dgm:t>
    </dgm:pt>
    <dgm:pt modelId="{103107A7-F619-4977-861C-1209EF6B7D13}" type="sibTrans" cxnId="{BEBE5A98-53AF-49A8-A719-875ED43245AD}">
      <dgm:prSet/>
      <dgm:spPr/>
      <dgm:t>
        <a:bodyPr/>
        <a:lstStyle/>
        <a:p>
          <a:endParaRPr lang="en-US"/>
        </a:p>
      </dgm:t>
    </dgm:pt>
    <dgm:pt modelId="{8CBDD88D-482E-4718-AFC5-879759F1F734}">
      <dgm:prSet custT="1"/>
      <dgm:spPr/>
      <dgm:t>
        <a:bodyPr/>
        <a:lstStyle/>
        <a:p>
          <a:r>
            <a:rPr lang="en-US" sz="2400" dirty="0">
              <a:solidFill>
                <a:schemeClr val="tx1"/>
              </a:solidFill>
              <a:latin typeface="+mj-lt"/>
            </a:rPr>
            <a:t>Complete your 2024-25 application starting December 2023</a:t>
          </a:r>
        </a:p>
      </dgm:t>
    </dgm:pt>
    <dgm:pt modelId="{004EBFC3-3953-42B7-817C-5D9435150F2B}" type="parTrans" cxnId="{76818580-BFD1-40DC-91D2-6322EA00AAA7}">
      <dgm:prSet/>
      <dgm:spPr/>
      <dgm:t>
        <a:bodyPr/>
        <a:lstStyle/>
        <a:p>
          <a:endParaRPr lang="en-US"/>
        </a:p>
      </dgm:t>
    </dgm:pt>
    <dgm:pt modelId="{87F3D763-37D8-411E-93E8-014A34F2CEF0}" type="sibTrans" cxnId="{76818580-BFD1-40DC-91D2-6322EA00AAA7}">
      <dgm:prSet/>
      <dgm:spPr/>
      <dgm:t>
        <a:bodyPr/>
        <a:lstStyle/>
        <a:p>
          <a:endParaRPr lang="en-US"/>
        </a:p>
      </dgm:t>
    </dgm:pt>
    <dgm:pt modelId="{DCCD3BF4-7600-49FD-9C66-089B65BAD9E0}" type="pres">
      <dgm:prSet presAssocID="{F81B89AD-3F73-4990-9D74-E8ADE629666B}" presName="linear" presStyleCnt="0">
        <dgm:presLayoutVars>
          <dgm:animLvl val="lvl"/>
          <dgm:resizeHandles val="exact"/>
        </dgm:presLayoutVars>
      </dgm:prSet>
      <dgm:spPr/>
    </dgm:pt>
    <dgm:pt modelId="{46A3AFAA-53F2-4C54-B9E3-FA8B49733DE0}" type="pres">
      <dgm:prSet presAssocID="{D65A3CC5-8590-4BFD-8DF2-29C9B465C4E1}" presName="parentText" presStyleLbl="node1" presStyleIdx="0" presStyleCnt="3">
        <dgm:presLayoutVars>
          <dgm:chMax val="0"/>
          <dgm:bulletEnabled val="1"/>
        </dgm:presLayoutVars>
      </dgm:prSet>
      <dgm:spPr/>
    </dgm:pt>
    <dgm:pt modelId="{BF138AA0-5502-497B-9C4D-98F7D5EC4CE2}" type="pres">
      <dgm:prSet presAssocID="{D65A3CC5-8590-4BFD-8DF2-29C9B465C4E1}" presName="childText" presStyleLbl="revTx" presStyleIdx="0" presStyleCnt="3">
        <dgm:presLayoutVars>
          <dgm:bulletEnabled val="1"/>
        </dgm:presLayoutVars>
      </dgm:prSet>
      <dgm:spPr/>
    </dgm:pt>
    <dgm:pt modelId="{2099A795-71E5-4A02-A6E5-DC626EEF8EB1}" type="pres">
      <dgm:prSet presAssocID="{3262C2F3-E5CB-418F-9C31-33CEB313C703}" presName="parentText" presStyleLbl="node1" presStyleIdx="1" presStyleCnt="3">
        <dgm:presLayoutVars>
          <dgm:chMax val="0"/>
          <dgm:bulletEnabled val="1"/>
        </dgm:presLayoutVars>
      </dgm:prSet>
      <dgm:spPr/>
    </dgm:pt>
    <dgm:pt modelId="{1916CE61-746D-47C9-BB0B-FE8E513C8842}" type="pres">
      <dgm:prSet presAssocID="{3262C2F3-E5CB-418F-9C31-33CEB313C703}" presName="childText" presStyleLbl="revTx" presStyleIdx="1" presStyleCnt="3">
        <dgm:presLayoutVars>
          <dgm:bulletEnabled val="1"/>
        </dgm:presLayoutVars>
      </dgm:prSet>
      <dgm:spPr/>
    </dgm:pt>
    <dgm:pt modelId="{B5556ADA-735F-4649-B9B9-6CA786496CB1}" type="pres">
      <dgm:prSet presAssocID="{09A6FE77-E71D-41CA-B3F8-74C367B4CD82}" presName="parentText" presStyleLbl="node1" presStyleIdx="2" presStyleCnt="3">
        <dgm:presLayoutVars>
          <dgm:chMax val="0"/>
          <dgm:bulletEnabled val="1"/>
        </dgm:presLayoutVars>
      </dgm:prSet>
      <dgm:spPr/>
    </dgm:pt>
    <dgm:pt modelId="{EEA0FB78-A39F-4CFC-A2B8-BE368588EEC0}" type="pres">
      <dgm:prSet presAssocID="{09A6FE77-E71D-41CA-B3F8-74C367B4CD82}" presName="childText" presStyleLbl="revTx" presStyleIdx="2" presStyleCnt="3">
        <dgm:presLayoutVars>
          <dgm:bulletEnabled val="1"/>
        </dgm:presLayoutVars>
      </dgm:prSet>
      <dgm:spPr/>
    </dgm:pt>
  </dgm:ptLst>
  <dgm:cxnLst>
    <dgm:cxn modelId="{39AE2F28-444C-4ACB-AEE5-B71B8AC580C6}" type="presOf" srcId="{3262C2F3-E5CB-418F-9C31-33CEB313C703}" destId="{2099A795-71E5-4A02-A6E5-DC626EEF8EB1}" srcOrd="0" destOrd="0" presId="urn:microsoft.com/office/officeart/2005/8/layout/vList2"/>
    <dgm:cxn modelId="{D8A6B32B-D941-4A21-9674-72230F14FAD7}" type="presOf" srcId="{BF029153-58F8-42CA-970C-30AE7C2393BF}" destId="{1916CE61-746D-47C9-BB0B-FE8E513C8842}" srcOrd="0" destOrd="0" presId="urn:microsoft.com/office/officeart/2005/8/layout/vList2"/>
    <dgm:cxn modelId="{3C26FB41-FD35-4035-A5DA-FC8804A8E677}" type="presOf" srcId="{8CBDD88D-482E-4718-AFC5-879759F1F734}" destId="{EEA0FB78-A39F-4CFC-A2B8-BE368588EEC0}" srcOrd="0" destOrd="2" presId="urn:microsoft.com/office/officeart/2005/8/layout/vList2"/>
    <dgm:cxn modelId="{8FC16962-2675-4F92-984B-01B4BA2D0261}" type="presOf" srcId="{BC70033C-3E41-4AF2-9E30-E99300147C49}" destId="{EEA0FB78-A39F-4CFC-A2B8-BE368588EEC0}" srcOrd="0" destOrd="1" presId="urn:microsoft.com/office/officeart/2005/8/layout/vList2"/>
    <dgm:cxn modelId="{63D27F7E-926F-43C3-A3F9-DDB66577DAE4}" type="presOf" srcId="{F81B89AD-3F73-4990-9D74-E8ADE629666B}" destId="{DCCD3BF4-7600-49FD-9C66-089B65BAD9E0}" srcOrd="0" destOrd="0" presId="urn:microsoft.com/office/officeart/2005/8/layout/vList2"/>
    <dgm:cxn modelId="{76818580-BFD1-40DC-91D2-6322EA00AAA7}" srcId="{09A6FE77-E71D-41CA-B3F8-74C367B4CD82}" destId="{8CBDD88D-482E-4718-AFC5-879759F1F734}" srcOrd="2" destOrd="0" parTransId="{004EBFC3-3953-42B7-817C-5D9435150F2B}" sibTransId="{87F3D763-37D8-411E-93E8-014A34F2CEF0}"/>
    <dgm:cxn modelId="{441CAA84-D941-4BC0-827B-F9173EBA3488}" type="presOf" srcId="{09A6FE77-E71D-41CA-B3F8-74C367B4CD82}" destId="{B5556ADA-735F-4649-B9B9-6CA786496CB1}" srcOrd="0" destOrd="0" presId="urn:microsoft.com/office/officeart/2005/8/layout/vList2"/>
    <dgm:cxn modelId="{19EF3585-E76F-4722-9587-F9A5BAFAADBC}" srcId="{3262C2F3-E5CB-418F-9C31-33CEB313C703}" destId="{BF029153-58F8-42CA-970C-30AE7C2393BF}" srcOrd="0" destOrd="0" parTransId="{59C732EF-9465-4999-BABE-2C6FB3C3BCA1}" sibTransId="{6F211C7A-B018-4888-8E19-5B0F2920628E}"/>
    <dgm:cxn modelId="{BB2AC789-75C1-4ECB-AD71-915375D2BF09}" type="presOf" srcId="{3B547FB7-E5D9-4FA4-991B-06EF83FD5518}" destId="{EEA0FB78-A39F-4CFC-A2B8-BE368588EEC0}" srcOrd="0" destOrd="0" presId="urn:microsoft.com/office/officeart/2005/8/layout/vList2"/>
    <dgm:cxn modelId="{BEBE5A98-53AF-49A8-A719-875ED43245AD}" srcId="{D65A3CC5-8590-4BFD-8DF2-29C9B465C4E1}" destId="{3956EEFE-B2F4-4635-B92E-1DB969AE04C6}" srcOrd="1" destOrd="0" parTransId="{005525D8-B891-48A9-90C1-93BD3F99FF1B}" sibTransId="{103107A7-F619-4977-861C-1209EF6B7D13}"/>
    <dgm:cxn modelId="{7D95A29B-4528-4B7A-88AF-DC9D5C235C89}" srcId="{F81B89AD-3F73-4990-9D74-E8ADE629666B}" destId="{3262C2F3-E5CB-418F-9C31-33CEB313C703}" srcOrd="1" destOrd="0" parTransId="{6E165511-F5B0-4210-B004-9BB1724C1457}" sibTransId="{8EB237BF-F4B3-44DE-B5E5-E76BBDC72EC8}"/>
    <dgm:cxn modelId="{1B51C39C-6B60-435F-BE1E-7248C004D921}" type="presOf" srcId="{89C14BE0-D286-4CFE-8313-5B4EE9CC1A08}" destId="{BF138AA0-5502-497B-9C4D-98F7D5EC4CE2}" srcOrd="0" destOrd="0" presId="urn:microsoft.com/office/officeart/2005/8/layout/vList2"/>
    <dgm:cxn modelId="{25AA37AD-E170-49DE-A464-322AA483C7B6}" srcId="{09A6FE77-E71D-41CA-B3F8-74C367B4CD82}" destId="{3B547FB7-E5D9-4FA4-991B-06EF83FD5518}" srcOrd="0" destOrd="0" parTransId="{952007B9-55EB-48C7-A8B0-8ED02E6EBB29}" sibTransId="{B164F85F-DFBF-4B41-958A-BCE71E675409}"/>
    <dgm:cxn modelId="{26462BAE-D1E8-43CF-94ED-0B84108304A0}" srcId="{D65A3CC5-8590-4BFD-8DF2-29C9B465C4E1}" destId="{89C14BE0-D286-4CFE-8313-5B4EE9CC1A08}" srcOrd="0" destOrd="0" parTransId="{4F44ECFD-3695-48D0-A5EC-C4E50B6DCBA9}" sibTransId="{12367C51-7D2F-4FC8-8DC1-58D244869289}"/>
    <dgm:cxn modelId="{BEF108B4-77F6-48F7-977B-A6EAD3BDFCC9}" type="presOf" srcId="{3956EEFE-B2F4-4635-B92E-1DB969AE04C6}" destId="{BF138AA0-5502-497B-9C4D-98F7D5EC4CE2}" srcOrd="0" destOrd="1" presId="urn:microsoft.com/office/officeart/2005/8/layout/vList2"/>
    <dgm:cxn modelId="{CE220BB7-2078-4310-8738-BA589720ACDD}" srcId="{F81B89AD-3F73-4990-9D74-E8ADE629666B}" destId="{D65A3CC5-8590-4BFD-8DF2-29C9B465C4E1}" srcOrd="0" destOrd="0" parTransId="{F2AEE115-7E29-4463-82E6-A2DF7567C7CB}" sibTransId="{D53FD6B6-CC5C-4AD5-9892-7E8A4546E29C}"/>
    <dgm:cxn modelId="{2A4D23E4-7217-466E-8A17-DAB7A81123A4}" srcId="{F81B89AD-3F73-4990-9D74-E8ADE629666B}" destId="{09A6FE77-E71D-41CA-B3F8-74C367B4CD82}" srcOrd="2" destOrd="0" parTransId="{8286034B-1442-4028-A49C-12D15D252EE6}" sibTransId="{790263D6-FB36-47B9-8955-A3FA8506C090}"/>
    <dgm:cxn modelId="{684916FD-BA1B-4BA8-A435-806D6D3988B4}" type="presOf" srcId="{D65A3CC5-8590-4BFD-8DF2-29C9B465C4E1}" destId="{46A3AFAA-53F2-4C54-B9E3-FA8B49733DE0}" srcOrd="0" destOrd="0" presId="urn:microsoft.com/office/officeart/2005/8/layout/vList2"/>
    <dgm:cxn modelId="{9981E1FF-9F8A-4BF2-9BB9-0C2960E8F74D}" srcId="{09A6FE77-E71D-41CA-B3F8-74C367B4CD82}" destId="{BC70033C-3E41-4AF2-9E30-E99300147C49}" srcOrd="1" destOrd="0" parTransId="{7AF1DB3F-08EF-47AD-AF4C-87EB335E456B}" sibTransId="{13DEBC40-9BB9-45DF-AFED-E095E8E47685}"/>
    <dgm:cxn modelId="{B104CDF8-2F74-4A54-ACA7-A2D821D98B83}" type="presParOf" srcId="{DCCD3BF4-7600-49FD-9C66-089B65BAD9E0}" destId="{46A3AFAA-53F2-4C54-B9E3-FA8B49733DE0}" srcOrd="0" destOrd="0" presId="urn:microsoft.com/office/officeart/2005/8/layout/vList2"/>
    <dgm:cxn modelId="{9E6FDA2E-4446-4CFB-98B2-B55649658FEC}" type="presParOf" srcId="{DCCD3BF4-7600-49FD-9C66-089B65BAD9E0}" destId="{BF138AA0-5502-497B-9C4D-98F7D5EC4CE2}" srcOrd="1" destOrd="0" presId="urn:microsoft.com/office/officeart/2005/8/layout/vList2"/>
    <dgm:cxn modelId="{C4D2A756-F9DD-4CFF-A015-A1D8567991BE}" type="presParOf" srcId="{DCCD3BF4-7600-49FD-9C66-089B65BAD9E0}" destId="{2099A795-71E5-4A02-A6E5-DC626EEF8EB1}" srcOrd="2" destOrd="0" presId="urn:microsoft.com/office/officeart/2005/8/layout/vList2"/>
    <dgm:cxn modelId="{D4D0419D-11B4-4071-ADD9-16121DECF269}" type="presParOf" srcId="{DCCD3BF4-7600-49FD-9C66-089B65BAD9E0}" destId="{1916CE61-746D-47C9-BB0B-FE8E513C8842}" srcOrd="3" destOrd="0" presId="urn:microsoft.com/office/officeart/2005/8/layout/vList2"/>
    <dgm:cxn modelId="{6CB70582-393A-490B-BBD8-6E5692FA26AE}" type="presParOf" srcId="{DCCD3BF4-7600-49FD-9C66-089B65BAD9E0}" destId="{B5556ADA-735F-4649-B9B9-6CA786496CB1}" srcOrd="4" destOrd="0" presId="urn:microsoft.com/office/officeart/2005/8/layout/vList2"/>
    <dgm:cxn modelId="{B7F2C97C-C6A2-4297-B610-D6A553E442B7}" type="presParOf" srcId="{DCCD3BF4-7600-49FD-9C66-089B65BAD9E0}" destId="{EEA0FB78-A39F-4CFC-A2B8-BE368588EEC0}"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B2CCD97A-7465-4344-A255-048EF024A0B2}"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3B347703-838A-49BC-B7AF-71BEF4CD0398}">
      <dgm:prSet phldrT="[Text]"/>
      <dgm:spPr/>
      <dgm:t>
        <a:bodyPr/>
        <a:lstStyle/>
        <a:p>
          <a:r>
            <a:rPr lang="en-US">
              <a:latin typeface="+mj-lt"/>
            </a:rPr>
            <a:t>One-stop site for juniors and seniors </a:t>
          </a:r>
        </a:p>
      </dgm:t>
    </dgm:pt>
    <dgm:pt modelId="{79A93E6C-0277-441F-9FEE-EA24A5C624D1}" type="parTrans" cxnId="{F024E939-446F-4FAA-92ED-91BCF6A684EB}">
      <dgm:prSet/>
      <dgm:spPr/>
      <dgm:t>
        <a:bodyPr/>
        <a:lstStyle/>
        <a:p>
          <a:endParaRPr lang="en-US"/>
        </a:p>
      </dgm:t>
    </dgm:pt>
    <dgm:pt modelId="{7F397198-7AC5-4F95-90D4-EE5598B0432E}" type="sibTrans" cxnId="{F024E939-446F-4FAA-92ED-91BCF6A684EB}">
      <dgm:prSet/>
      <dgm:spPr/>
      <dgm:t>
        <a:bodyPr/>
        <a:lstStyle/>
        <a:p>
          <a:endParaRPr lang="en-US"/>
        </a:p>
      </dgm:t>
    </dgm:pt>
    <dgm:pt modelId="{473AF2C8-3A04-4CEB-8AB9-720F5F102409}">
      <dgm:prSet phldrT="[Text]"/>
      <dgm:spPr/>
      <dgm:t>
        <a:bodyPr/>
        <a:lstStyle/>
        <a:p>
          <a:r>
            <a:rPr lang="en-US">
              <a:latin typeface="+mj-lt"/>
            </a:rPr>
            <a:t>Career exploration resources to application information</a:t>
          </a:r>
        </a:p>
      </dgm:t>
    </dgm:pt>
    <dgm:pt modelId="{05C8F3DA-0671-4D54-91B2-B7A319737B5C}" type="parTrans" cxnId="{46EC051C-5118-417B-80BE-201E4DC0D8BA}">
      <dgm:prSet/>
      <dgm:spPr/>
      <dgm:t>
        <a:bodyPr/>
        <a:lstStyle/>
        <a:p>
          <a:endParaRPr lang="en-US"/>
        </a:p>
      </dgm:t>
    </dgm:pt>
    <dgm:pt modelId="{11C69BE0-2BCE-48DF-8027-D0B98F7A683D}" type="sibTrans" cxnId="{46EC051C-5118-417B-80BE-201E4DC0D8BA}">
      <dgm:prSet/>
      <dgm:spPr/>
      <dgm:t>
        <a:bodyPr/>
        <a:lstStyle/>
        <a:p>
          <a:endParaRPr lang="en-US"/>
        </a:p>
      </dgm:t>
    </dgm:pt>
    <dgm:pt modelId="{EF205DFC-2996-4E00-9CD2-E4029C107950}" type="pres">
      <dgm:prSet presAssocID="{B2CCD97A-7465-4344-A255-048EF024A0B2}" presName="Name0" presStyleCnt="0">
        <dgm:presLayoutVars>
          <dgm:chMax val="7"/>
          <dgm:chPref val="7"/>
          <dgm:dir/>
        </dgm:presLayoutVars>
      </dgm:prSet>
      <dgm:spPr/>
    </dgm:pt>
    <dgm:pt modelId="{C864A4F9-CEB5-41C8-9FCC-60B373B206F5}" type="pres">
      <dgm:prSet presAssocID="{B2CCD97A-7465-4344-A255-048EF024A0B2}" presName="Name1" presStyleCnt="0"/>
      <dgm:spPr/>
    </dgm:pt>
    <dgm:pt modelId="{DF4F2D0F-C746-48C6-9E4E-1DF864A50590}" type="pres">
      <dgm:prSet presAssocID="{B2CCD97A-7465-4344-A255-048EF024A0B2}" presName="cycle" presStyleCnt="0"/>
      <dgm:spPr/>
    </dgm:pt>
    <dgm:pt modelId="{47C7CA2E-7CAA-4466-A0AF-B6FCE70F9E4B}" type="pres">
      <dgm:prSet presAssocID="{B2CCD97A-7465-4344-A255-048EF024A0B2}" presName="srcNode" presStyleLbl="node1" presStyleIdx="0" presStyleCnt="2"/>
      <dgm:spPr/>
    </dgm:pt>
    <dgm:pt modelId="{00E1E90A-4290-4073-A2AB-527A20860E8F}" type="pres">
      <dgm:prSet presAssocID="{B2CCD97A-7465-4344-A255-048EF024A0B2}" presName="conn" presStyleLbl="parChTrans1D2" presStyleIdx="0" presStyleCnt="1"/>
      <dgm:spPr/>
    </dgm:pt>
    <dgm:pt modelId="{CDD92175-D516-426B-B4AC-73FEF9D5D0C4}" type="pres">
      <dgm:prSet presAssocID="{B2CCD97A-7465-4344-A255-048EF024A0B2}" presName="extraNode" presStyleLbl="node1" presStyleIdx="0" presStyleCnt="2"/>
      <dgm:spPr/>
    </dgm:pt>
    <dgm:pt modelId="{7A8D418C-E34D-46F3-A0CF-725D9D4A5EFB}" type="pres">
      <dgm:prSet presAssocID="{B2CCD97A-7465-4344-A255-048EF024A0B2}" presName="dstNode" presStyleLbl="node1" presStyleIdx="0" presStyleCnt="2"/>
      <dgm:spPr/>
    </dgm:pt>
    <dgm:pt modelId="{DA7EEE88-C7C7-4C73-ADFA-5299724E363A}" type="pres">
      <dgm:prSet presAssocID="{3B347703-838A-49BC-B7AF-71BEF4CD0398}" presName="text_1" presStyleLbl="node1" presStyleIdx="0" presStyleCnt="2">
        <dgm:presLayoutVars>
          <dgm:bulletEnabled val="1"/>
        </dgm:presLayoutVars>
      </dgm:prSet>
      <dgm:spPr/>
    </dgm:pt>
    <dgm:pt modelId="{053B4D72-88CD-4D46-8AD4-07B4A2C8843B}" type="pres">
      <dgm:prSet presAssocID="{3B347703-838A-49BC-B7AF-71BEF4CD0398}" presName="accent_1" presStyleCnt="0"/>
      <dgm:spPr/>
    </dgm:pt>
    <dgm:pt modelId="{D688FABD-1F6D-4EB8-AAA6-ACFD9889F7FB}" type="pres">
      <dgm:prSet presAssocID="{3B347703-838A-49BC-B7AF-71BEF4CD0398}" presName="accentRepeatNode" presStyleLbl="solidFgAcc1" presStyleIdx="0" presStyleCnt="2"/>
      <dgm:spPr/>
    </dgm:pt>
    <dgm:pt modelId="{7AC5B223-0064-4E6D-90D1-7DDCF092CA8E}" type="pres">
      <dgm:prSet presAssocID="{473AF2C8-3A04-4CEB-8AB9-720F5F102409}" presName="text_2" presStyleLbl="node1" presStyleIdx="1" presStyleCnt="2">
        <dgm:presLayoutVars>
          <dgm:bulletEnabled val="1"/>
        </dgm:presLayoutVars>
      </dgm:prSet>
      <dgm:spPr/>
    </dgm:pt>
    <dgm:pt modelId="{E2E53C6F-0C6B-48A3-9CEB-BA7B610D25B5}" type="pres">
      <dgm:prSet presAssocID="{473AF2C8-3A04-4CEB-8AB9-720F5F102409}" presName="accent_2" presStyleCnt="0"/>
      <dgm:spPr/>
    </dgm:pt>
    <dgm:pt modelId="{D09EEE02-13A2-46DF-9E5B-25808A119B91}" type="pres">
      <dgm:prSet presAssocID="{473AF2C8-3A04-4CEB-8AB9-720F5F102409}" presName="accentRepeatNode" presStyleLbl="solidFgAcc1" presStyleIdx="1" presStyleCnt="2"/>
      <dgm:spPr/>
    </dgm:pt>
  </dgm:ptLst>
  <dgm:cxnLst>
    <dgm:cxn modelId="{46EC051C-5118-417B-80BE-201E4DC0D8BA}" srcId="{B2CCD97A-7465-4344-A255-048EF024A0B2}" destId="{473AF2C8-3A04-4CEB-8AB9-720F5F102409}" srcOrd="1" destOrd="0" parTransId="{05C8F3DA-0671-4D54-91B2-B7A319737B5C}" sibTransId="{11C69BE0-2BCE-48DF-8027-D0B98F7A683D}"/>
    <dgm:cxn modelId="{123B7036-DCAB-4A4C-B440-8262C6818704}" type="presOf" srcId="{473AF2C8-3A04-4CEB-8AB9-720F5F102409}" destId="{7AC5B223-0064-4E6D-90D1-7DDCF092CA8E}" srcOrd="0" destOrd="0" presId="urn:microsoft.com/office/officeart/2008/layout/VerticalCurvedList"/>
    <dgm:cxn modelId="{F024E939-446F-4FAA-92ED-91BCF6A684EB}" srcId="{B2CCD97A-7465-4344-A255-048EF024A0B2}" destId="{3B347703-838A-49BC-B7AF-71BEF4CD0398}" srcOrd="0" destOrd="0" parTransId="{79A93E6C-0277-441F-9FEE-EA24A5C624D1}" sibTransId="{7F397198-7AC5-4F95-90D4-EE5598B0432E}"/>
    <dgm:cxn modelId="{F9DBB8BA-3960-45CD-8516-9ECC2F167D87}" type="presOf" srcId="{3B347703-838A-49BC-B7AF-71BEF4CD0398}" destId="{DA7EEE88-C7C7-4C73-ADFA-5299724E363A}" srcOrd="0" destOrd="0" presId="urn:microsoft.com/office/officeart/2008/layout/VerticalCurvedList"/>
    <dgm:cxn modelId="{69B19BE8-5C8E-4C35-BC59-ED7FD54F956C}" type="presOf" srcId="{B2CCD97A-7465-4344-A255-048EF024A0B2}" destId="{EF205DFC-2996-4E00-9CD2-E4029C107950}" srcOrd="0" destOrd="0" presId="urn:microsoft.com/office/officeart/2008/layout/VerticalCurvedList"/>
    <dgm:cxn modelId="{9753E9EA-D365-4F49-960A-5C20CCCB735F}" type="presOf" srcId="{7F397198-7AC5-4F95-90D4-EE5598B0432E}" destId="{00E1E90A-4290-4073-A2AB-527A20860E8F}" srcOrd="0" destOrd="0" presId="urn:microsoft.com/office/officeart/2008/layout/VerticalCurvedList"/>
    <dgm:cxn modelId="{EFB21B60-6ED7-4FDA-A81E-2F5CB2E1777F}" type="presParOf" srcId="{EF205DFC-2996-4E00-9CD2-E4029C107950}" destId="{C864A4F9-CEB5-41C8-9FCC-60B373B206F5}" srcOrd="0" destOrd="0" presId="urn:microsoft.com/office/officeart/2008/layout/VerticalCurvedList"/>
    <dgm:cxn modelId="{821F3CAD-0D6D-48EE-B4F4-831070023BEB}" type="presParOf" srcId="{C864A4F9-CEB5-41C8-9FCC-60B373B206F5}" destId="{DF4F2D0F-C746-48C6-9E4E-1DF864A50590}" srcOrd="0" destOrd="0" presId="urn:microsoft.com/office/officeart/2008/layout/VerticalCurvedList"/>
    <dgm:cxn modelId="{EBFDC8C3-4F43-4459-BE8A-FD5300624EFE}" type="presParOf" srcId="{DF4F2D0F-C746-48C6-9E4E-1DF864A50590}" destId="{47C7CA2E-7CAA-4466-A0AF-B6FCE70F9E4B}" srcOrd="0" destOrd="0" presId="urn:microsoft.com/office/officeart/2008/layout/VerticalCurvedList"/>
    <dgm:cxn modelId="{6B7E73FD-4DCF-4580-BC8A-BC987C81A342}" type="presParOf" srcId="{DF4F2D0F-C746-48C6-9E4E-1DF864A50590}" destId="{00E1E90A-4290-4073-A2AB-527A20860E8F}" srcOrd="1" destOrd="0" presId="urn:microsoft.com/office/officeart/2008/layout/VerticalCurvedList"/>
    <dgm:cxn modelId="{788CC32F-0ED5-492E-B114-628AB806D86C}" type="presParOf" srcId="{DF4F2D0F-C746-48C6-9E4E-1DF864A50590}" destId="{CDD92175-D516-426B-B4AC-73FEF9D5D0C4}" srcOrd="2" destOrd="0" presId="urn:microsoft.com/office/officeart/2008/layout/VerticalCurvedList"/>
    <dgm:cxn modelId="{0CFFE58A-AFA2-4245-A26F-886822127017}" type="presParOf" srcId="{DF4F2D0F-C746-48C6-9E4E-1DF864A50590}" destId="{7A8D418C-E34D-46F3-A0CF-725D9D4A5EFB}" srcOrd="3" destOrd="0" presId="urn:microsoft.com/office/officeart/2008/layout/VerticalCurvedList"/>
    <dgm:cxn modelId="{7C6BD083-DD87-445F-B55C-3810914A0978}" type="presParOf" srcId="{C864A4F9-CEB5-41C8-9FCC-60B373B206F5}" destId="{DA7EEE88-C7C7-4C73-ADFA-5299724E363A}" srcOrd="1" destOrd="0" presId="urn:microsoft.com/office/officeart/2008/layout/VerticalCurvedList"/>
    <dgm:cxn modelId="{8F6EC802-F85F-4732-9FBE-A27564EC1091}" type="presParOf" srcId="{C864A4F9-CEB5-41C8-9FCC-60B373B206F5}" destId="{053B4D72-88CD-4D46-8AD4-07B4A2C8843B}" srcOrd="2" destOrd="0" presId="urn:microsoft.com/office/officeart/2008/layout/VerticalCurvedList"/>
    <dgm:cxn modelId="{086382D6-330A-4D2B-81E2-A6B499D619C9}" type="presParOf" srcId="{053B4D72-88CD-4D46-8AD4-07B4A2C8843B}" destId="{D688FABD-1F6D-4EB8-AAA6-ACFD9889F7FB}" srcOrd="0" destOrd="0" presId="urn:microsoft.com/office/officeart/2008/layout/VerticalCurvedList"/>
    <dgm:cxn modelId="{39FE0716-2E27-4D53-97DA-DBD1F6ACC043}" type="presParOf" srcId="{C864A4F9-CEB5-41C8-9FCC-60B373B206F5}" destId="{7AC5B223-0064-4E6D-90D1-7DDCF092CA8E}" srcOrd="3" destOrd="0" presId="urn:microsoft.com/office/officeart/2008/layout/VerticalCurvedList"/>
    <dgm:cxn modelId="{260FF152-C8B6-457C-BCAB-C7684B82DD51}" type="presParOf" srcId="{C864A4F9-CEB5-41C8-9FCC-60B373B206F5}" destId="{E2E53C6F-0C6B-48A3-9CEB-BA7B610D25B5}" srcOrd="4" destOrd="0" presId="urn:microsoft.com/office/officeart/2008/layout/VerticalCurvedList"/>
    <dgm:cxn modelId="{C20D3955-D19F-44CD-9FB1-DEF21C56792D}" type="presParOf" srcId="{E2E53C6F-0C6B-48A3-9CEB-BA7B610D25B5}" destId="{D09EEE02-13A2-46DF-9E5B-25808A119B91}"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09465A43-6072-4D51-A1BE-D5E7F772BA5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90AC97A6-2F66-4C6A-B059-1DB908CEDDCC}">
      <dgm:prSet phldrT="[Text]"/>
      <dgm:spPr/>
      <dgm:t>
        <a:bodyPr/>
        <a:lstStyle/>
        <a:p>
          <a:r>
            <a:rPr lang="en-US" dirty="0">
              <a:latin typeface="+mj-lt"/>
            </a:rPr>
            <a:t>Free virtual financial aid completion events to help you take the next step!</a:t>
          </a:r>
        </a:p>
      </dgm:t>
    </dgm:pt>
    <dgm:pt modelId="{5E9F81D9-E3CC-4E04-B20F-57412BC750BD}" type="parTrans" cxnId="{A75462D9-4B9A-4E71-A1BC-65E4F873B5EA}">
      <dgm:prSet/>
      <dgm:spPr/>
      <dgm:t>
        <a:bodyPr/>
        <a:lstStyle/>
        <a:p>
          <a:endParaRPr lang="en-US"/>
        </a:p>
      </dgm:t>
    </dgm:pt>
    <dgm:pt modelId="{1A4C7625-0B41-404D-ABEF-1663ABBBA031}" type="sibTrans" cxnId="{A75462D9-4B9A-4E71-A1BC-65E4F873B5EA}">
      <dgm:prSet/>
      <dgm:spPr/>
      <dgm:t>
        <a:bodyPr/>
        <a:lstStyle/>
        <a:p>
          <a:endParaRPr lang="en-US"/>
        </a:p>
      </dgm:t>
    </dgm:pt>
    <dgm:pt modelId="{5D6F6C5C-46F6-40D4-A26A-AE2C4E3FFFA9}">
      <dgm:prSet/>
      <dgm:spPr/>
      <dgm:t>
        <a:bodyPr/>
        <a:lstStyle/>
        <a:p>
          <a:r>
            <a:rPr lang="en-US" dirty="0">
              <a:latin typeface="+mj-lt"/>
            </a:rPr>
            <a:t>Free resources that support you with financial aid, college  admissions and more.</a:t>
          </a:r>
        </a:p>
      </dgm:t>
    </dgm:pt>
    <dgm:pt modelId="{420B1F0E-9640-4D23-BF47-316079F1FD68}" type="parTrans" cxnId="{200C889D-995A-4661-B081-A85F72B4294D}">
      <dgm:prSet/>
      <dgm:spPr/>
      <dgm:t>
        <a:bodyPr/>
        <a:lstStyle/>
        <a:p>
          <a:endParaRPr lang="en-US"/>
        </a:p>
      </dgm:t>
    </dgm:pt>
    <dgm:pt modelId="{DDE042BA-F23D-4908-86E7-0B92BC9538AA}" type="sibTrans" cxnId="{200C889D-995A-4661-B081-A85F72B4294D}">
      <dgm:prSet/>
      <dgm:spPr/>
      <dgm:t>
        <a:bodyPr/>
        <a:lstStyle/>
        <a:p>
          <a:endParaRPr lang="en-US"/>
        </a:p>
      </dgm:t>
    </dgm:pt>
    <dgm:pt modelId="{A8A80E82-2965-431A-A9C2-2C96DD37C270}" type="pres">
      <dgm:prSet presAssocID="{09465A43-6072-4D51-A1BE-D5E7F772BA57}" presName="diagram" presStyleCnt="0">
        <dgm:presLayoutVars>
          <dgm:dir/>
          <dgm:resizeHandles val="exact"/>
        </dgm:presLayoutVars>
      </dgm:prSet>
      <dgm:spPr/>
    </dgm:pt>
    <dgm:pt modelId="{7E53936F-1AB2-418B-84EE-292A06FA3DCE}" type="pres">
      <dgm:prSet presAssocID="{90AC97A6-2F66-4C6A-B059-1DB908CEDDCC}" presName="node" presStyleLbl="node1" presStyleIdx="0" presStyleCnt="2">
        <dgm:presLayoutVars>
          <dgm:bulletEnabled val="1"/>
        </dgm:presLayoutVars>
      </dgm:prSet>
      <dgm:spPr/>
    </dgm:pt>
    <dgm:pt modelId="{EE830C6C-BB9B-474E-A847-1383C8ABDA82}" type="pres">
      <dgm:prSet presAssocID="{1A4C7625-0B41-404D-ABEF-1663ABBBA031}" presName="sibTrans" presStyleCnt="0"/>
      <dgm:spPr/>
    </dgm:pt>
    <dgm:pt modelId="{0C7BA3BD-FA8F-43B3-9195-2F144F4BC341}" type="pres">
      <dgm:prSet presAssocID="{5D6F6C5C-46F6-40D4-A26A-AE2C4E3FFFA9}" presName="node" presStyleLbl="node1" presStyleIdx="1" presStyleCnt="2">
        <dgm:presLayoutVars>
          <dgm:bulletEnabled val="1"/>
        </dgm:presLayoutVars>
      </dgm:prSet>
      <dgm:spPr/>
    </dgm:pt>
  </dgm:ptLst>
  <dgm:cxnLst>
    <dgm:cxn modelId="{6EB41E09-0CA1-4FBB-BBDC-0E15E340FBBB}" type="presOf" srcId="{09465A43-6072-4D51-A1BE-D5E7F772BA57}" destId="{A8A80E82-2965-431A-A9C2-2C96DD37C270}" srcOrd="0" destOrd="0" presId="urn:microsoft.com/office/officeart/2005/8/layout/default"/>
    <dgm:cxn modelId="{0AF81A31-5E9F-45D6-A253-E833E7C53543}" type="presOf" srcId="{90AC97A6-2F66-4C6A-B059-1DB908CEDDCC}" destId="{7E53936F-1AB2-418B-84EE-292A06FA3DCE}" srcOrd="0" destOrd="0" presId="urn:microsoft.com/office/officeart/2005/8/layout/default"/>
    <dgm:cxn modelId="{BB99C65B-8646-4093-ACD6-2D48A96B9CC5}" type="presOf" srcId="{5D6F6C5C-46F6-40D4-A26A-AE2C4E3FFFA9}" destId="{0C7BA3BD-FA8F-43B3-9195-2F144F4BC341}" srcOrd="0" destOrd="0" presId="urn:microsoft.com/office/officeart/2005/8/layout/default"/>
    <dgm:cxn modelId="{200C889D-995A-4661-B081-A85F72B4294D}" srcId="{09465A43-6072-4D51-A1BE-D5E7F772BA57}" destId="{5D6F6C5C-46F6-40D4-A26A-AE2C4E3FFFA9}" srcOrd="1" destOrd="0" parTransId="{420B1F0E-9640-4D23-BF47-316079F1FD68}" sibTransId="{DDE042BA-F23D-4908-86E7-0B92BC9538AA}"/>
    <dgm:cxn modelId="{A75462D9-4B9A-4E71-A1BC-65E4F873B5EA}" srcId="{09465A43-6072-4D51-A1BE-D5E7F772BA57}" destId="{90AC97A6-2F66-4C6A-B059-1DB908CEDDCC}" srcOrd="0" destOrd="0" parTransId="{5E9F81D9-E3CC-4E04-B20F-57412BC750BD}" sibTransId="{1A4C7625-0B41-404D-ABEF-1663ABBBA031}"/>
    <dgm:cxn modelId="{6D3A6F6E-043A-487F-AA0B-B23346D37FC4}" type="presParOf" srcId="{A8A80E82-2965-431A-A9C2-2C96DD37C270}" destId="{7E53936F-1AB2-418B-84EE-292A06FA3DCE}" srcOrd="0" destOrd="0" presId="urn:microsoft.com/office/officeart/2005/8/layout/default"/>
    <dgm:cxn modelId="{D1939C2F-F69F-45A1-AE05-82CB1C3D31E6}" type="presParOf" srcId="{A8A80E82-2965-431A-A9C2-2C96DD37C270}" destId="{EE830C6C-BB9B-474E-A847-1383C8ABDA82}" srcOrd="1" destOrd="0" presId="urn:microsoft.com/office/officeart/2005/8/layout/default"/>
    <dgm:cxn modelId="{E099E475-3DD1-4A86-97FC-D977F6F2ED11}" type="presParOf" srcId="{A8A80E82-2965-431A-A9C2-2C96DD37C270}" destId="{0C7BA3BD-FA8F-43B3-9195-2F144F4BC341}"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B0BAD981-C193-41A9-B9ED-209DFADB2C34}" type="doc">
      <dgm:prSet loTypeId="urn:microsoft.com/office/officeart/2005/8/layout/vList4" loCatId="list" qsTypeId="urn:microsoft.com/office/officeart/2005/8/quickstyle/simple1" qsCatId="simple" csTypeId="urn:microsoft.com/office/officeart/2005/8/colors/colorful1" csCatId="colorful" phldr="1"/>
      <dgm:spPr/>
      <dgm:t>
        <a:bodyPr/>
        <a:lstStyle/>
        <a:p>
          <a:endParaRPr lang="en-US"/>
        </a:p>
      </dgm:t>
    </dgm:pt>
    <dgm:pt modelId="{B1D0A611-0A72-4D94-9A01-89F90B3C619E}">
      <dgm:prSet phldrT="[Text]" custT="1"/>
      <dgm:spPr/>
      <dgm:t>
        <a:bodyPr/>
        <a:lstStyle/>
        <a:p>
          <a:r>
            <a:rPr lang="en-US" sz="3000" dirty="0">
              <a:latin typeface="+mj-lt"/>
            </a:rPr>
            <a:t>Online:</a:t>
          </a:r>
        </a:p>
      </dgm:t>
    </dgm:pt>
    <dgm:pt modelId="{872C81DA-53A0-449F-938A-FDAB241D10AF}" type="parTrans" cxnId="{8EB33D7E-4025-4A5C-A005-90D24FFA0EB1}">
      <dgm:prSet/>
      <dgm:spPr/>
      <dgm:t>
        <a:bodyPr/>
        <a:lstStyle/>
        <a:p>
          <a:endParaRPr lang="en-US"/>
        </a:p>
      </dgm:t>
    </dgm:pt>
    <dgm:pt modelId="{36B53BD7-45D3-4DDF-8D98-423A63F80A96}" type="sibTrans" cxnId="{8EB33D7E-4025-4A5C-A005-90D24FFA0EB1}">
      <dgm:prSet/>
      <dgm:spPr/>
      <dgm:t>
        <a:bodyPr/>
        <a:lstStyle/>
        <a:p>
          <a:endParaRPr lang="en-US"/>
        </a:p>
      </dgm:t>
    </dgm:pt>
    <dgm:pt modelId="{0D7C2E6B-9B5A-43DD-9194-970F8A8220AE}">
      <dgm:prSet custT="1"/>
      <dgm:spPr/>
      <dgm:t>
        <a:bodyPr/>
        <a:lstStyle/>
        <a:p>
          <a:pPr marL="223838" indent="0"/>
          <a:r>
            <a:rPr lang="en-US" sz="2500" dirty="0">
              <a:solidFill>
                <a:schemeClr val="bg1"/>
              </a:solidFill>
              <a:latin typeface="+mj-lt"/>
            </a:rPr>
            <a:t>wsac.wa.gov</a:t>
          </a:r>
        </a:p>
      </dgm:t>
    </dgm:pt>
    <dgm:pt modelId="{A1015466-1ADD-4647-92AF-3944FAFA13FA}" type="parTrans" cxnId="{81ABF4F1-83C9-4C4C-8E0D-BAF93D21B525}">
      <dgm:prSet/>
      <dgm:spPr/>
      <dgm:t>
        <a:bodyPr/>
        <a:lstStyle/>
        <a:p>
          <a:endParaRPr lang="en-US"/>
        </a:p>
      </dgm:t>
    </dgm:pt>
    <dgm:pt modelId="{C341F615-11E3-418C-B87E-9488CE2392DB}" type="sibTrans" cxnId="{81ABF4F1-83C9-4C4C-8E0D-BAF93D21B525}">
      <dgm:prSet/>
      <dgm:spPr/>
      <dgm:t>
        <a:bodyPr/>
        <a:lstStyle/>
        <a:p>
          <a:endParaRPr lang="en-US"/>
        </a:p>
      </dgm:t>
    </dgm:pt>
    <dgm:pt modelId="{D3E7DFD9-42FD-4D16-A11D-2F98EFF54394}">
      <dgm:prSet custT="1"/>
      <dgm:spPr/>
      <dgm:t>
        <a:bodyPr/>
        <a:lstStyle/>
        <a:p>
          <a:pPr marL="223838" indent="0"/>
          <a:r>
            <a:rPr lang="en-US" sz="2500" dirty="0">
              <a:latin typeface="+mj-lt"/>
            </a:rPr>
            <a:t>www.thewashboard.org</a:t>
          </a:r>
        </a:p>
      </dgm:t>
    </dgm:pt>
    <dgm:pt modelId="{FB0249EB-E01B-4606-882F-CDC9B395BAD2}" type="parTrans" cxnId="{298A639F-D42B-4B18-80B5-050490CBB1E7}">
      <dgm:prSet/>
      <dgm:spPr/>
      <dgm:t>
        <a:bodyPr/>
        <a:lstStyle/>
        <a:p>
          <a:endParaRPr lang="en-US"/>
        </a:p>
      </dgm:t>
    </dgm:pt>
    <dgm:pt modelId="{B10B254D-E714-4E7C-BFB4-E7304511BCDF}" type="sibTrans" cxnId="{298A639F-D42B-4B18-80B5-050490CBB1E7}">
      <dgm:prSet/>
      <dgm:spPr/>
      <dgm:t>
        <a:bodyPr/>
        <a:lstStyle/>
        <a:p>
          <a:endParaRPr lang="en-US"/>
        </a:p>
      </dgm:t>
    </dgm:pt>
    <dgm:pt modelId="{60278D02-F0C6-4B7A-850C-2F55221B1A56}">
      <dgm:prSet custT="1"/>
      <dgm:spPr/>
      <dgm:t>
        <a:bodyPr/>
        <a:lstStyle/>
        <a:p>
          <a:pPr marL="223838" indent="0"/>
          <a:r>
            <a:rPr lang="en-US" sz="2500" dirty="0">
              <a:solidFill>
                <a:schemeClr val="bg1"/>
              </a:solidFill>
              <a:latin typeface="+mj-lt"/>
            </a:rPr>
            <a:t>wastate529.wa.gov</a:t>
          </a:r>
        </a:p>
      </dgm:t>
    </dgm:pt>
    <dgm:pt modelId="{7B443698-F676-4651-907A-C20D33189F6B}" type="parTrans" cxnId="{9513FB35-9EAC-4BD9-916B-E70934CFB134}">
      <dgm:prSet/>
      <dgm:spPr/>
      <dgm:t>
        <a:bodyPr/>
        <a:lstStyle/>
        <a:p>
          <a:endParaRPr lang="en-US"/>
        </a:p>
      </dgm:t>
    </dgm:pt>
    <dgm:pt modelId="{830E75CC-A353-48A8-BF99-D6BB7D96DF94}" type="sibTrans" cxnId="{9513FB35-9EAC-4BD9-916B-E70934CFB134}">
      <dgm:prSet/>
      <dgm:spPr/>
      <dgm:t>
        <a:bodyPr/>
        <a:lstStyle/>
        <a:p>
          <a:endParaRPr lang="en-US"/>
        </a:p>
      </dgm:t>
    </dgm:pt>
    <dgm:pt modelId="{242585D5-1DC8-4DEF-9D96-191A7A3EB2B6}">
      <dgm:prSet/>
      <dgm:spPr/>
      <dgm:t>
        <a:bodyPr/>
        <a:lstStyle/>
        <a:p>
          <a:r>
            <a:rPr lang="en-US" dirty="0">
              <a:latin typeface="+mj-lt"/>
            </a:rPr>
            <a:t>On Twitter:</a:t>
          </a:r>
        </a:p>
      </dgm:t>
    </dgm:pt>
    <dgm:pt modelId="{8C008165-407C-4A5F-8B99-80832F1CA41E}" type="parTrans" cxnId="{5FC2295D-E55B-4B18-A020-AE5AA092289A}">
      <dgm:prSet/>
      <dgm:spPr/>
      <dgm:t>
        <a:bodyPr/>
        <a:lstStyle/>
        <a:p>
          <a:endParaRPr lang="en-US"/>
        </a:p>
      </dgm:t>
    </dgm:pt>
    <dgm:pt modelId="{C8642798-97B0-443C-99C5-E633A1B2123F}" type="sibTrans" cxnId="{5FC2295D-E55B-4B18-A020-AE5AA092289A}">
      <dgm:prSet/>
      <dgm:spPr/>
      <dgm:t>
        <a:bodyPr/>
        <a:lstStyle/>
        <a:p>
          <a:endParaRPr lang="en-US"/>
        </a:p>
      </dgm:t>
    </dgm:pt>
    <dgm:pt modelId="{1384D8E9-BBC9-4710-8185-9D5653A0ACD7}">
      <dgm:prSet/>
      <dgm:spPr/>
      <dgm:t>
        <a:bodyPr/>
        <a:lstStyle/>
        <a:p>
          <a:pPr marL="223838" indent="0"/>
          <a:r>
            <a:rPr lang="en-US" dirty="0">
              <a:latin typeface="+mj-lt"/>
            </a:rPr>
            <a:t>@</a:t>
          </a:r>
          <a:r>
            <a:rPr lang="en-US" dirty="0" err="1">
              <a:latin typeface="+mj-lt"/>
            </a:rPr>
            <a:t>WSACouncil</a:t>
          </a:r>
          <a:r>
            <a:rPr lang="en-US" dirty="0">
              <a:latin typeface="+mj-lt"/>
            </a:rPr>
            <a:t> </a:t>
          </a:r>
        </a:p>
      </dgm:t>
    </dgm:pt>
    <dgm:pt modelId="{9A124508-0739-4BD3-91E1-8FBDAB8191FC}" type="parTrans" cxnId="{1EECBB2E-0F6B-40AA-8AC2-F096DAF026C4}">
      <dgm:prSet/>
      <dgm:spPr/>
      <dgm:t>
        <a:bodyPr/>
        <a:lstStyle/>
        <a:p>
          <a:endParaRPr lang="en-US"/>
        </a:p>
      </dgm:t>
    </dgm:pt>
    <dgm:pt modelId="{87509BA5-0F05-4538-86C4-140B094F7CBB}" type="sibTrans" cxnId="{1EECBB2E-0F6B-40AA-8AC2-F096DAF026C4}">
      <dgm:prSet/>
      <dgm:spPr/>
      <dgm:t>
        <a:bodyPr/>
        <a:lstStyle/>
        <a:p>
          <a:endParaRPr lang="en-US"/>
        </a:p>
      </dgm:t>
    </dgm:pt>
    <dgm:pt modelId="{4EF96A9B-66A4-4730-9876-6A483491D667}">
      <dgm:prSet/>
      <dgm:spPr/>
      <dgm:t>
        <a:bodyPr/>
        <a:lstStyle/>
        <a:p>
          <a:r>
            <a:rPr lang="en-US" dirty="0">
              <a:latin typeface="+mj-lt"/>
            </a:rPr>
            <a:t>On Facebook:</a:t>
          </a:r>
        </a:p>
      </dgm:t>
    </dgm:pt>
    <dgm:pt modelId="{578FC122-0A44-4BDB-85DB-4046FDA2BC52}" type="parTrans" cxnId="{2B0AA321-F861-4ECB-8925-BB2AAF20902A}">
      <dgm:prSet/>
      <dgm:spPr/>
      <dgm:t>
        <a:bodyPr/>
        <a:lstStyle/>
        <a:p>
          <a:endParaRPr lang="en-US"/>
        </a:p>
      </dgm:t>
    </dgm:pt>
    <dgm:pt modelId="{DB67EA74-CC04-4C3F-B047-77D82000A241}" type="sibTrans" cxnId="{2B0AA321-F861-4ECB-8925-BB2AAF20902A}">
      <dgm:prSet/>
      <dgm:spPr/>
      <dgm:t>
        <a:bodyPr/>
        <a:lstStyle/>
        <a:p>
          <a:endParaRPr lang="en-US"/>
        </a:p>
      </dgm:t>
    </dgm:pt>
    <dgm:pt modelId="{D3CA17BD-CFC6-48F7-92DE-99E1A400D6B4}">
      <dgm:prSet/>
      <dgm:spPr/>
      <dgm:t>
        <a:bodyPr/>
        <a:lstStyle/>
        <a:p>
          <a:pPr marL="223838" indent="0"/>
          <a:r>
            <a:rPr lang="en-US" dirty="0">
              <a:latin typeface="+mj-lt"/>
            </a:rPr>
            <a:t>www.facebook.com/WSACouncil</a:t>
          </a:r>
        </a:p>
      </dgm:t>
    </dgm:pt>
    <dgm:pt modelId="{C1BBBB83-1BAE-4510-9C77-705ECF697C7B}" type="parTrans" cxnId="{2E4E22C0-D3E8-4D0C-8FCE-82325A00E9CE}">
      <dgm:prSet/>
      <dgm:spPr/>
      <dgm:t>
        <a:bodyPr/>
        <a:lstStyle/>
        <a:p>
          <a:endParaRPr lang="en-US"/>
        </a:p>
      </dgm:t>
    </dgm:pt>
    <dgm:pt modelId="{CC6F4A02-1F5B-46EC-964D-92A36AADCBEF}" type="sibTrans" cxnId="{2E4E22C0-D3E8-4D0C-8FCE-82325A00E9CE}">
      <dgm:prSet/>
      <dgm:spPr/>
      <dgm:t>
        <a:bodyPr/>
        <a:lstStyle/>
        <a:p>
          <a:endParaRPr lang="en-US"/>
        </a:p>
      </dgm:t>
    </dgm:pt>
    <dgm:pt modelId="{30668F29-54E7-4526-89A0-DCB0CA57ACD6}" type="pres">
      <dgm:prSet presAssocID="{B0BAD981-C193-41A9-B9ED-209DFADB2C34}" presName="linear" presStyleCnt="0">
        <dgm:presLayoutVars>
          <dgm:dir/>
          <dgm:resizeHandles val="exact"/>
        </dgm:presLayoutVars>
      </dgm:prSet>
      <dgm:spPr/>
    </dgm:pt>
    <dgm:pt modelId="{A7D9338A-412F-4B78-8563-5977CE38C6AA}" type="pres">
      <dgm:prSet presAssocID="{B1D0A611-0A72-4D94-9A01-89F90B3C619E}" presName="comp" presStyleCnt="0"/>
      <dgm:spPr/>
    </dgm:pt>
    <dgm:pt modelId="{F9F2C6CA-8ADF-41BE-ACC5-C4170E9C5134}" type="pres">
      <dgm:prSet presAssocID="{B1D0A611-0A72-4D94-9A01-89F90B3C619E}" presName="box" presStyleLbl="node1" presStyleIdx="0" presStyleCnt="3" custScaleY="144678" custLinFactNeighborX="28043" custLinFactNeighborY="2399"/>
      <dgm:spPr/>
    </dgm:pt>
    <dgm:pt modelId="{36FF14BC-FBA2-4EDA-A695-6270CF518E19}" type="pres">
      <dgm:prSet presAssocID="{B1D0A611-0A72-4D94-9A01-89F90B3C619E}"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dgm:spPr>
    </dgm:pt>
    <dgm:pt modelId="{3AA17BA2-DA67-46C8-A42B-F00988269194}" type="pres">
      <dgm:prSet presAssocID="{B1D0A611-0A72-4D94-9A01-89F90B3C619E}" presName="text" presStyleLbl="node1" presStyleIdx="0" presStyleCnt="3">
        <dgm:presLayoutVars>
          <dgm:bulletEnabled val="1"/>
        </dgm:presLayoutVars>
      </dgm:prSet>
      <dgm:spPr/>
    </dgm:pt>
    <dgm:pt modelId="{CC553752-CFBC-49F8-9808-09C187CEEE93}" type="pres">
      <dgm:prSet presAssocID="{36B53BD7-45D3-4DDF-8D98-423A63F80A96}" presName="spacer" presStyleCnt="0"/>
      <dgm:spPr/>
    </dgm:pt>
    <dgm:pt modelId="{A3876F26-9FD2-40E0-AFA4-1F20CE6EC14B}" type="pres">
      <dgm:prSet presAssocID="{242585D5-1DC8-4DEF-9D96-191A7A3EB2B6}" presName="comp" presStyleCnt="0"/>
      <dgm:spPr/>
    </dgm:pt>
    <dgm:pt modelId="{AF34229C-F1EA-4DCA-8864-4C2575FF4974}" type="pres">
      <dgm:prSet presAssocID="{242585D5-1DC8-4DEF-9D96-191A7A3EB2B6}" presName="box" presStyleLbl="node1" presStyleIdx="1" presStyleCnt="3" custLinFactNeighborX="-5702" custLinFactNeighborY="583"/>
      <dgm:spPr/>
    </dgm:pt>
    <dgm:pt modelId="{8C589259-8345-4660-9E55-F438BB95AB07}" type="pres">
      <dgm:prSet presAssocID="{242585D5-1DC8-4DEF-9D96-191A7A3EB2B6}"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7000" b="-7000"/>
          </a:stretch>
        </a:blipFill>
      </dgm:spPr>
    </dgm:pt>
    <dgm:pt modelId="{6B278A30-CF55-4A6D-91B5-EF35A181F00A}" type="pres">
      <dgm:prSet presAssocID="{242585D5-1DC8-4DEF-9D96-191A7A3EB2B6}" presName="text" presStyleLbl="node1" presStyleIdx="1" presStyleCnt="3">
        <dgm:presLayoutVars>
          <dgm:bulletEnabled val="1"/>
        </dgm:presLayoutVars>
      </dgm:prSet>
      <dgm:spPr/>
    </dgm:pt>
    <dgm:pt modelId="{D1AD3430-C1A0-4C6C-AC84-A86F8700C127}" type="pres">
      <dgm:prSet presAssocID="{C8642798-97B0-443C-99C5-E633A1B2123F}" presName="spacer" presStyleCnt="0"/>
      <dgm:spPr/>
    </dgm:pt>
    <dgm:pt modelId="{DBCB1686-ADCD-47EF-99BC-DF3E30DB6867}" type="pres">
      <dgm:prSet presAssocID="{4EF96A9B-66A4-4730-9876-6A483491D667}" presName="comp" presStyleCnt="0"/>
      <dgm:spPr/>
    </dgm:pt>
    <dgm:pt modelId="{3B960BAA-C130-4144-9CAD-D50151064897}" type="pres">
      <dgm:prSet presAssocID="{4EF96A9B-66A4-4730-9876-6A483491D667}" presName="box" presStyleLbl="node1" presStyleIdx="2" presStyleCnt="3"/>
      <dgm:spPr/>
    </dgm:pt>
    <dgm:pt modelId="{DF22EC87-A7B2-48AC-814C-4B991D8B2FB4}" type="pres">
      <dgm:prSet presAssocID="{4EF96A9B-66A4-4730-9876-6A483491D667}" presName="img" presStyleLbl="fgImgPlace1" presStyleIdx="2" presStyleCnt="3" custLinFactNeighborX="-1995" custLinFactNeighborY="-1049"/>
      <dgm:spPr>
        <a:blipFill>
          <a:blip xmlns:r="http://schemas.openxmlformats.org/officeDocument/2006/relationships" r:embed="rId3">
            <a:extLst>
              <a:ext uri="{28A0092B-C50C-407E-A947-70E740481C1C}">
                <a14:useLocalDpi xmlns:a14="http://schemas.microsoft.com/office/drawing/2010/main" val="0"/>
              </a:ext>
            </a:extLst>
          </a:blip>
          <a:srcRect/>
          <a:stretch>
            <a:fillRect l="-12000" r="-12000"/>
          </a:stretch>
        </a:blipFill>
      </dgm:spPr>
    </dgm:pt>
    <dgm:pt modelId="{2E92B0B4-DB36-4B83-8804-DD6201F99520}" type="pres">
      <dgm:prSet presAssocID="{4EF96A9B-66A4-4730-9876-6A483491D667}" presName="text" presStyleLbl="node1" presStyleIdx="2" presStyleCnt="3">
        <dgm:presLayoutVars>
          <dgm:bulletEnabled val="1"/>
        </dgm:presLayoutVars>
      </dgm:prSet>
      <dgm:spPr/>
    </dgm:pt>
  </dgm:ptLst>
  <dgm:cxnLst>
    <dgm:cxn modelId="{0527E815-FB8C-4B9A-B926-0A863A1D18D2}" type="presOf" srcId="{B1D0A611-0A72-4D94-9A01-89F90B3C619E}" destId="{F9F2C6CA-8ADF-41BE-ACC5-C4170E9C5134}" srcOrd="0" destOrd="0" presId="urn:microsoft.com/office/officeart/2005/8/layout/vList4"/>
    <dgm:cxn modelId="{7CD8B116-38EC-40C5-BAA4-07E742AB4B07}" type="presOf" srcId="{D3CA17BD-CFC6-48F7-92DE-99E1A400D6B4}" destId="{2E92B0B4-DB36-4B83-8804-DD6201F99520}" srcOrd="1" destOrd="1" presId="urn:microsoft.com/office/officeart/2005/8/layout/vList4"/>
    <dgm:cxn modelId="{7845C71E-7E7D-48F4-940C-B487BF0D96FE}" type="presOf" srcId="{242585D5-1DC8-4DEF-9D96-191A7A3EB2B6}" destId="{AF34229C-F1EA-4DCA-8864-4C2575FF4974}" srcOrd="0" destOrd="0" presId="urn:microsoft.com/office/officeart/2005/8/layout/vList4"/>
    <dgm:cxn modelId="{2B0AA321-F861-4ECB-8925-BB2AAF20902A}" srcId="{B0BAD981-C193-41A9-B9ED-209DFADB2C34}" destId="{4EF96A9B-66A4-4730-9876-6A483491D667}" srcOrd="2" destOrd="0" parTransId="{578FC122-0A44-4BDB-85DB-4046FDA2BC52}" sibTransId="{DB67EA74-CC04-4C3F-B047-77D82000A241}"/>
    <dgm:cxn modelId="{1EECBB2E-0F6B-40AA-8AC2-F096DAF026C4}" srcId="{242585D5-1DC8-4DEF-9D96-191A7A3EB2B6}" destId="{1384D8E9-BBC9-4710-8185-9D5653A0ACD7}" srcOrd="0" destOrd="0" parTransId="{9A124508-0739-4BD3-91E1-8FBDAB8191FC}" sibTransId="{87509BA5-0F05-4538-86C4-140B094F7CBB}"/>
    <dgm:cxn modelId="{9513FB35-9EAC-4BD9-916B-E70934CFB134}" srcId="{B1D0A611-0A72-4D94-9A01-89F90B3C619E}" destId="{60278D02-F0C6-4B7A-850C-2F55221B1A56}" srcOrd="2" destOrd="0" parTransId="{7B443698-F676-4651-907A-C20D33189F6B}" sibTransId="{830E75CC-A353-48A8-BF99-D6BB7D96DF94}"/>
    <dgm:cxn modelId="{5FC2295D-E55B-4B18-A020-AE5AA092289A}" srcId="{B0BAD981-C193-41A9-B9ED-209DFADB2C34}" destId="{242585D5-1DC8-4DEF-9D96-191A7A3EB2B6}" srcOrd="1" destOrd="0" parTransId="{8C008165-407C-4A5F-8B99-80832F1CA41E}" sibTransId="{C8642798-97B0-443C-99C5-E633A1B2123F}"/>
    <dgm:cxn modelId="{6A893A41-F046-4F18-A9B1-ADACB8E43C4D}" type="presOf" srcId="{B0BAD981-C193-41A9-B9ED-209DFADB2C34}" destId="{30668F29-54E7-4526-89A0-DCB0CA57ACD6}" srcOrd="0" destOrd="0" presId="urn:microsoft.com/office/officeart/2005/8/layout/vList4"/>
    <dgm:cxn modelId="{44E39A46-45ED-4571-BE8A-368A3453CEB4}" type="presOf" srcId="{D3E7DFD9-42FD-4D16-A11D-2F98EFF54394}" destId="{F9F2C6CA-8ADF-41BE-ACC5-C4170E9C5134}" srcOrd="0" destOrd="2" presId="urn:microsoft.com/office/officeart/2005/8/layout/vList4"/>
    <dgm:cxn modelId="{753FC248-9AAB-4DF5-BBE2-0A1CE4A585CB}" type="presOf" srcId="{B1D0A611-0A72-4D94-9A01-89F90B3C619E}" destId="{3AA17BA2-DA67-46C8-A42B-F00988269194}" srcOrd="1" destOrd="0" presId="urn:microsoft.com/office/officeart/2005/8/layout/vList4"/>
    <dgm:cxn modelId="{08840050-1772-4E43-9BA9-7180C17FAE23}" type="presOf" srcId="{1384D8E9-BBC9-4710-8185-9D5653A0ACD7}" destId="{6B278A30-CF55-4A6D-91B5-EF35A181F00A}" srcOrd="1" destOrd="1" presId="urn:microsoft.com/office/officeart/2005/8/layout/vList4"/>
    <dgm:cxn modelId="{FEC3217C-B393-47FE-A935-BE4E10AAD055}" type="presOf" srcId="{60278D02-F0C6-4B7A-850C-2F55221B1A56}" destId="{3AA17BA2-DA67-46C8-A42B-F00988269194}" srcOrd="1" destOrd="3" presId="urn:microsoft.com/office/officeart/2005/8/layout/vList4"/>
    <dgm:cxn modelId="{8EB33D7E-4025-4A5C-A005-90D24FFA0EB1}" srcId="{B0BAD981-C193-41A9-B9ED-209DFADB2C34}" destId="{B1D0A611-0A72-4D94-9A01-89F90B3C619E}" srcOrd="0" destOrd="0" parTransId="{872C81DA-53A0-449F-938A-FDAB241D10AF}" sibTransId="{36B53BD7-45D3-4DDF-8D98-423A63F80A96}"/>
    <dgm:cxn modelId="{AEB4BB84-00D1-4787-8854-BA39500624BD}" type="presOf" srcId="{4EF96A9B-66A4-4730-9876-6A483491D667}" destId="{3B960BAA-C130-4144-9CAD-D50151064897}" srcOrd="0" destOrd="0" presId="urn:microsoft.com/office/officeart/2005/8/layout/vList4"/>
    <dgm:cxn modelId="{C4D7878A-2141-4B1B-8421-9B56F6A613EA}" type="presOf" srcId="{D3E7DFD9-42FD-4D16-A11D-2F98EFF54394}" destId="{3AA17BA2-DA67-46C8-A42B-F00988269194}" srcOrd="1" destOrd="2" presId="urn:microsoft.com/office/officeart/2005/8/layout/vList4"/>
    <dgm:cxn modelId="{FDC99E8C-1FDC-441C-A9C0-DD59B2F3FA52}" type="presOf" srcId="{0D7C2E6B-9B5A-43DD-9194-970F8A8220AE}" destId="{3AA17BA2-DA67-46C8-A42B-F00988269194}" srcOrd="1" destOrd="1" presId="urn:microsoft.com/office/officeart/2005/8/layout/vList4"/>
    <dgm:cxn modelId="{298A639F-D42B-4B18-80B5-050490CBB1E7}" srcId="{B1D0A611-0A72-4D94-9A01-89F90B3C619E}" destId="{D3E7DFD9-42FD-4D16-A11D-2F98EFF54394}" srcOrd="1" destOrd="0" parTransId="{FB0249EB-E01B-4606-882F-CDC9B395BAD2}" sibTransId="{B10B254D-E714-4E7C-BFB4-E7304511BCDF}"/>
    <dgm:cxn modelId="{C9AF13AA-6C20-4132-A6C1-814165FD26AA}" type="presOf" srcId="{242585D5-1DC8-4DEF-9D96-191A7A3EB2B6}" destId="{6B278A30-CF55-4A6D-91B5-EF35A181F00A}" srcOrd="1" destOrd="0" presId="urn:microsoft.com/office/officeart/2005/8/layout/vList4"/>
    <dgm:cxn modelId="{1F8511B4-C99F-40FA-9086-B4C71A12CAB6}" type="presOf" srcId="{4EF96A9B-66A4-4730-9876-6A483491D667}" destId="{2E92B0B4-DB36-4B83-8804-DD6201F99520}" srcOrd="1" destOrd="0" presId="urn:microsoft.com/office/officeart/2005/8/layout/vList4"/>
    <dgm:cxn modelId="{2E4E22C0-D3E8-4D0C-8FCE-82325A00E9CE}" srcId="{4EF96A9B-66A4-4730-9876-6A483491D667}" destId="{D3CA17BD-CFC6-48F7-92DE-99E1A400D6B4}" srcOrd="0" destOrd="0" parTransId="{C1BBBB83-1BAE-4510-9C77-705ECF697C7B}" sibTransId="{CC6F4A02-1F5B-46EC-964D-92A36AADCBEF}"/>
    <dgm:cxn modelId="{0A0708C1-A73F-4BAF-A165-05972364061D}" type="presOf" srcId="{D3CA17BD-CFC6-48F7-92DE-99E1A400D6B4}" destId="{3B960BAA-C130-4144-9CAD-D50151064897}" srcOrd="0" destOrd="1" presId="urn:microsoft.com/office/officeart/2005/8/layout/vList4"/>
    <dgm:cxn modelId="{014788DA-4C0A-4B6A-90E2-3A528F3EF46C}" type="presOf" srcId="{60278D02-F0C6-4B7A-850C-2F55221B1A56}" destId="{F9F2C6CA-8ADF-41BE-ACC5-C4170E9C5134}" srcOrd="0" destOrd="3" presId="urn:microsoft.com/office/officeart/2005/8/layout/vList4"/>
    <dgm:cxn modelId="{19E49ADD-B09B-417B-A77C-326FDE40BDA5}" type="presOf" srcId="{0D7C2E6B-9B5A-43DD-9194-970F8A8220AE}" destId="{F9F2C6CA-8ADF-41BE-ACC5-C4170E9C5134}" srcOrd="0" destOrd="1" presId="urn:microsoft.com/office/officeart/2005/8/layout/vList4"/>
    <dgm:cxn modelId="{D40CBCE0-75D9-4A8D-89CD-5BBB02E55A14}" type="presOf" srcId="{1384D8E9-BBC9-4710-8185-9D5653A0ACD7}" destId="{AF34229C-F1EA-4DCA-8864-4C2575FF4974}" srcOrd="0" destOrd="1" presId="urn:microsoft.com/office/officeart/2005/8/layout/vList4"/>
    <dgm:cxn modelId="{81ABF4F1-83C9-4C4C-8E0D-BAF93D21B525}" srcId="{B1D0A611-0A72-4D94-9A01-89F90B3C619E}" destId="{0D7C2E6B-9B5A-43DD-9194-970F8A8220AE}" srcOrd="0" destOrd="0" parTransId="{A1015466-1ADD-4647-92AF-3944FAFA13FA}" sibTransId="{C341F615-11E3-418C-B87E-9488CE2392DB}"/>
    <dgm:cxn modelId="{AA2DFCB1-630C-40C0-838F-F4B26B2D185A}" type="presParOf" srcId="{30668F29-54E7-4526-89A0-DCB0CA57ACD6}" destId="{A7D9338A-412F-4B78-8563-5977CE38C6AA}" srcOrd="0" destOrd="0" presId="urn:microsoft.com/office/officeart/2005/8/layout/vList4"/>
    <dgm:cxn modelId="{A910C53D-7042-4E03-A9C3-C7D2A1A1D61F}" type="presParOf" srcId="{A7D9338A-412F-4B78-8563-5977CE38C6AA}" destId="{F9F2C6CA-8ADF-41BE-ACC5-C4170E9C5134}" srcOrd="0" destOrd="0" presId="urn:microsoft.com/office/officeart/2005/8/layout/vList4"/>
    <dgm:cxn modelId="{6A86B2F1-5FCC-49D4-A127-EEADDB36BF4A}" type="presParOf" srcId="{A7D9338A-412F-4B78-8563-5977CE38C6AA}" destId="{36FF14BC-FBA2-4EDA-A695-6270CF518E19}" srcOrd="1" destOrd="0" presId="urn:microsoft.com/office/officeart/2005/8/layout/vList4"/>
    <dgm:cxn modelId="{4E0ABECF-C38A-4BBE-A120-5BB651755432}" type="presParOf" srcId="{A7D9338A-412F-4B78-8563-5977CE38C6AA}" destId="{3AA17BA2-DA67-46C8-A42B-F00988269194}" srcOrd="2" destOrd="0" presId="urn:microsoft.com/office/officeart/2005/8/layout/vList4"/>
    <dgm:cxn modelId="{4C568F91-3697-47FB-B8AA-06A2E1A0158D}" type="presParOf" srcId="{30668F29-54E7-4526-89A0-DCB0CA57ACD6}" destId="{CC553752-CFBC-49F8-9808-09C187CEEE93}" srcOrd="1" destOrd="0" presId="urn:microsoft.com/office/officeart/2005/8/layout/vList4"/>
    <dgm:cxn modelId="{407974BE-086C-4810-8DE7-6D1849C339A7}" type="presParOf" srcId="{30668F29-54E7-4526-89A0-DCB0CA57ACD6}" destId="{A3876F26-9FD2-40E0-AFA4-1F20CE6EC14B}" srcOrd="2" destOrd="0" presId="urn:microsoft.com/office/officeart/2005/8/layout/vList4"/>
    <dgm:cxn modelId="{853CFC01-9EDF-4CC1-A8B0-F954C3A42FFF}" type="presParOf" srcId="{A3876F26-9FD2-40E0-AFA4-1F20CE6EC14B}" destId="{AF34229C-F1EA-4DCA-8864-4C2575FF4974}" srcOrd="0" destOrd="0" presId="urn:microsoft.com/office/officeart/2005/8/layout/vList4"/>
    <dgm:cxn modelId="{6682A7A7-4AD1-4B8E-9755-E826F0A65F4C}" type="presParOf" srcId="{A3876F26-9FD2-40E0-AFA4-1F20CE6EC14B}" destId="{8C589259-8345-4660-9E55-F438BB95AB07}" srcOrd="1" destOrd="0" presId="urn:microsoft.com/office/officeart/2005/8/layout/vList4"/>
    <dgm:cxn modelId="{50469EAC-C423-4C1B-A50E-6158F184B705}" type="presParOf" srcId="{A3876F26-9FD2-40E0-AFA4-1F20CE6EC14B}" destId="{6B278A30-CF55-4A6D-91B5-EF35A181F00A}" srcOrd="2" destOrd="0" presId="urn:microsoft.com/office/officeart/2005/8/layout/vList4"/>
    <dgm:cxn modelId="{13E8E4DA-0EB2-40EB-A76A-07D0AE98D99C}" type="presParOf" srcId="{30668F29-54E7-4526-89A0-DCB0CA57ACD6}" destId="{D1AD3430-C1A0-4C6C-AC84-A86F8700C127}" srcOrd="3" destOrd="0" presId="urn:microsoft.com/office/officeart/2005/8/layout/vList4"/>
    <dgm:cxn modelId="{EF100A03-26C0-40AE-9BE5-14317A659DF8}" type="presParOf" srcId="{30668F29-54E7-4526-89A0-DCB0CA57ACD6}" destId="{DBCB1686-ADCD-47EF-99BC-DF3E30DB6867}" srcOrd="4" destOrd="0" presId="urn:microsoft.com/office/officeart/2005/8/layout/vList4"/>
    <dgm:cxn modelId="{D6038EB1-5BB5-4028-AECF-F08CE25E906B}" type="presParOf" srcId="{DBCB1686-ADCD-47EF-99BC-DF3E30DB6867}" destId="{3B960BAA-C130-4144-9CAD-D50151064897}" srcOrd="0" destOrd="0" presId="urn:microsoft.com/office/officeart/2005/8/layout/vList4"/>
    <dgm:cxn modelId="{03C7A34F-EE72-4593-B98F-9DA09578A94B}" type="presParOf" srcId="{DBCB1686-ADCD-47EF-99BC-DF3E30DB6867}" destId="{DF22EC87-A7B2-48AC-814C-4B991D8B2FB4}" srcOrd="1" destOrd="0" presId="urn:microsoft.com/office/officeart/2005/8/layout/vList4"/>
    <dgm:cxn modelId="{3432E08C-4BAA-447A-86DB-3F977859477D}" type="presParOf" srcId="{DBCB1686-ADCD-47EF-99BC-DF3E30DB6867}" destId="{2E92B0B4-DB36-4B83-8804-DD6201F99520}"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66B044-F07D-4598-9661-9D57A8E4F6BA}" type="doc">
      <dgm:prSet loTypeId="urn:microsoft.com/office/officeart/2005/8/layout/orgChart1" loCatId="hierarchy" qsTypeId="urn:microsoft.com/office/officeart/2005/8/quickstyle/simple1" qsCatId="simple" csTypeId="urn:microsoft.com/office/officeart/2005/8/colors/colorful1" csCatId="colorful" phldr="1"/>
      <dgm:spPr/>
      <dgm:t>
        <a:bodyPr/>
        <a:lstStyle/>
        <a:p>
          <a:endParaRPr lang="en-US"/>
        </a:p>
      </dgm:t>
    </dgm:pt>
    <dgm:pt modelId="{902EBED0-DB60-43AA-8584-0640E880A77D}" type="asst">
      <dgm:prSet phldrT="[Text]" custT="1"/>
      <dgm:spPr/>
      <dgm:t>
        <a:bodyPr/>
        <a:lstStyle/>
        <a:p>
          <a:pPr>
            <a:buNone/>
          </a:pPr>
          <a:r>
            <a:rPr lang="en-US" sz="4000" dirty="0">
              <a:latin typeface="+mj-lt"/>
            </a:rPr>
            <a:t>A grant is gift aid that often based on financial need and does not need to be repaid (unless, for example, you withdraw from school and owe a refund). </a:t>
          </a:r>
        </a:p>
      </dgm:t>
    </dgm:pt>
    <dgm:pt modelId="{97AB23B6-F1E7-4548-B265-D210C758B61A}" type="parTrans" cxnId="{0E92A4E8-BAD6-45A0-99E9-19352ECFD135}">
      <dgm:prSet/>
      <dgm:spPr/>
      <dgm:t>
        <a:bodyPr/>
        <a:lstStyle/>
        <a:p>
          <a:endParaRPr lang="en-US"/>
        </a:p>
      </dgm:t>
    </dgm:pt>
    <dgm:pt modelId="{D3712A37-89EE-40F2-BB44-33E0E99E0AC2}" type="sibTrans" cxnId="{0E92A4E8-BAD6-45A0-99E9-19352ECFD135}">
      <dgm:prSet/>
      <dgm:spPr/>
      <dgm:t>
        <a:bodyPr/>
        <a:lstStyle/>
        <a:p>
          <a:endParaRPr lang="en-US"/>
        </a:p>
      </dgm:t>
    </dgm:pt>
    <dgm:pt modelId="{236465E2-9D6B-475D-BC3A-F46A3BA2CED2}">
      <dgm:prSet phldrT="[Text]" custT="1"/>
      <dgm:spPr/>
      <dgm:t>
        <a:bodyPr/>
        <a:lstStyle/>
        <a:p>
          <a:r>
            <a:rPr lang="en-US" sz="3600" dirty="0">
              <a:latin typeface="+mj-lt"/>
            </a:rPr>
            <a:t>Washington College Grant</a:t>
          </a:r>
        </a:p>
      </dgm:t>
    </dgm:pt>
    <dgm:pt modelId="{B2ADEE30-AC91-4EEC-8F1C-D53377F9DE30}" type="parTrans" cxnId="{F2860427-0E5C-4ACA-8A29-DE9E6B253963}">
      <dgm:prSet/>
      <dgm:spPr/>
      <dgm:t>
        <a:bodyPr/>
        <a:lstStyle/>
        <a:p>
          <a:endParaRPr lang="en-US"/>
        </a:p>
      </dgm:t>
    </dgm:pt>
    <dgm:pt modelId="{21FB0681-9776-41FC-BBE4-C0C36160DB33}" type="sibTrans" cxnId="{F2860427-0E5C-4ACA-8A29-DE9E6B253963}">
      <dgm:prSet/>
      <dgm:spPr/>
      <dgm:t>
        <a:bodyPr/>
        <a:lstStyle/>
        <a:p>
          <a:endParaRPr lang="en-US"/>
        </a:p>
      </dgm:t>
    </dgm:pt>
    <dgm:pt modelId="{DC321E98-7944-428F-AE79-A1C2E95D14A7}">
      <dgm:prSet phldrT="[Text]" custT="1"/>
      <dgm:spPr/>
      <dgm:t>
        <a:bodyPr/>
        <a:lstStyle/>
        <a:p>
          <a:r>
            <a:rPr lang="en-US" sz="3600" dirty="0">
              <a:latin typeface="+mj-lt"/>
            </a:rPr>
            <a:t>Pell Grant</a:t>
          </a:r>
        </a:p>
      </dgm:t>
    </dgm:pt>
    <dgm:pt modelId="{7C11E1BA-B6EA-4432-BF9E-B8B7474780FC}" type="parTrans" cxnId="{2DB80FAF-DF06-428F-9BB9-7A2685630E58}">
      <dgm:prSet/>
      <dgm:spPr/>
      <dgm:t>
        <a:bodyPr/>
        <a:lstStyle/>
        <a:p>
          <a:endParaRPr lang="en-US"/>
        </a:p>
      </dgm:t>
    </dgm:pt>
    <dgm:pt modelId="{FFA736BB-22E9-405D-AA7D-425A8F1C548D}" type="sibTrans" cxnId="{2DB80FAF-DF06-428F-9BB9-7A2685630E58}">
      <dgm:prSet/>
      <dgm:spPr/>
      <dgm:t>
        <a:bodyPr/>
        <a:lstStyle/>
        <a:p>
          <a:endParaRPr lang="en-US"/>
        </a:p>
      </dgm:t>
    </dgm:pt>
    <dgm:pt modelId="{8D1AAE80-AE9E-4993-BE10-5A5B94AD648B}" type="pres">
      <dgm:prSet presAssocID="{9E66B044-F07D-4598-9661-9D57A8E4F6BA}" presName="hierChild1" presStyleCnt="0">
        <dgm:presLayoutVars>
          <dgm:orgChart val="1"/>
          <dgm:chPref val="1"/>
          <dgm:dir/>
          <dgm:animOne val="branch"/>
          <dgm:animLvl val="lvl"/>
          <dgm:resizeHandles/>
        </dgm:presLayoutVars>
      </dgm:prSet>
      <dgm:spPr/>
    </dgm:pt>
    <dgm:pt modelId="{4BBBD373-092D-4B64-8771-11AA3D844870}" type="pres">
      <dgm:prSet presAssocID="{902EBED0-DB60-43AA-8584-0640E880A77D}" presName="hierRoot1" presStyleCnt="0">
        <dgm:presLayoutVars>
          <dgm:hierBranch val="init"/>
        </dgm:presLayoutVars>
      </dgm:prSet>
      <dgm:spPr/>
    </dgm:pt>
    <dgm:pt modelId="{DE8C6911-9093-4A36-8341-DDCB4D4C4FF9}" type="pres">
      <dgm:prSet presAssocID="{902EBED0-DB60-43AA-8584-0640E880A77D}" presName="rootComposite1" presStyleCnt="0"/>
      <dgm:spPr/>
    </dgm:pt>
    <dgm:pt modelId="{8DBDCC43-6A5A-4C4A-8A82-FD940DE9550E}" type="pres">
      <dgm:prSet presAssocID="{902EBED0-DB60-43AA-8584-0640E880A77D}" presName="rootText1" presStyleLbl="node0" presStyleIdx="0" presStyleCnt="1" custScaleX="344855" custScaleY="174257">
        <dgm:presLayoutVars>
          <dgm:chPref val="3"/>
        </dgm:presLayoutVars>
      </dgm:prSet>
      <dgm:spPr/>
    </dgm:pt>
    <dgm:pt modelId="{FC926D7B-D787-4559-BCBA-6AC68105566A}" type="pres">
      <dgm:prSet presAssocID="{902EBED0-DB60-43AA-8584-0640E880A77D}" presName="rootConnector1" presStyleLbl="asst0" presStyleIdx="0" presStyleCnt="0"/>
      <dgm:spPr/>
    </dgm:pt>
    <dgm:pt modelId="{E3995128-5998-4FEE-8B4D-92F268630893}" type="pres">
      <dgm:prSet presAssocID="{902EBED0-DB60-43AA-8584-0640E880A77D}" presName="hierChild2" presStyleCnt="0"/>
      <dgm:spPr/>
    </dgm:pt>
    <dgm:pt modelId="{0E5915C7-656A-4643-A93B-A31018C29B22}" type="pres">
      <dgm:prSet presAssocID="{B2ADEE30-AC91-4EEC-8F1C-D53377F9DE30}" presName="Name37" presStyleLbl="parChTrans1D2" presStyleIdx="0" presStyleCnt="2"/>
      <dgm:spPr/>
    </dgm:pt>
    <dgm:pt modelId="{DDD16D7F-C291-4FE9-893F-E748A6541F20}" type="pres">
      <dgm:prSet presAssocID="{236465E2-9D6B-475D-BC3A-F46A3BA2CED2}" presName="hierRoot2" presStyleCnt="0">
        <dgm:presLayoutVars>
          <dgm:hierBranch val="init"/>
        </dgm:presLayoutVars>
      </dgm:prSet>
      <dgm:spPr/>
    </dgm:pt>
    <dgm:pt modelId="{EB8C027F-E191-4D0A-8C47-AA095BFA3D52}" type="pres">
      <dgm:prSet presAssocID="{236465E2-9D6B-475D-BC3A-F46A3BA2CED2}" presName="rootComposite" presStyleCnt="0"/>
      <dgm:spPr/>
    </dgm:pt>
    <dgm:pt modelId="{155F3A6D-C4A2-4091-A8CD-6DAC21F3A908}" type="pres">
      <dgm:prSet presAssocID="{236465E2-9D6B-475D-BC3A-F46A3BA2CED2}" presName="rootText" presStyleLbl="node2" presStyleIdx="0" presStyleCnt="2" custScaleX="191243">
        <dgm:presLayoutVars>
          <dgm:chPref val="3"/>
        </dgm:presLayoutVars>
      </dgm:prSet>
      <dgm:spPr/>
    </dgm:pt>
    <dgm:pt modelId="{B13A6D04-714B-4456-A155-20D965BB2ECF}" type="pres">
      <dgm:prSet presAssocID="{236465E2-9D6B-475D-BC3A-F46A3BA2CED2}" presName="rootConnector" presStyleLbl="node2" presStyleIdx="0" presStyleCnt="2"/>
      <dgm:spPr/>
    </dgm:pt>
    <dgm:pt modelId="{66AB12C2-C91B-4999-9A31-D6FA809371E2}" type="pres">
      <dgm:prSet presAssocID="{236465E2-9D6B-475D-BC3A-F46A3BA2CED2}" presName="hierChild4" presStyleCnt="0"/>
      <dgm:spPr/>
    </dgm:pt>
    <dgm:pt modelId="{F4281204-5E40-4D2A-ACB3-C7A0CF8074B8}" type="pres">
      <dgm:prSet presAssocID="{236465E2-9D6B-475D-BC3A-F46A3BA2CED2}" presName="hierChild5" presStyleCnt="0"/>
      <dgm:spPr/>
    </dgm:pt>
    <dgm:pt modelId="{9A61A595-D515-4831-AA89-118AA3A79382}" type="pres">
      <dgm:prSet presAssocID="{7C11E1BA-B6EA-4432-BF9E-B8B7474780FC}" presName="Name37" presStyleLbl="parChTrans1D2" presStyleIdx="1" presStyleCnt="2"/>
      <dgm:spPr/>
    </dgm:pt>
    <dgm:pt modelId="{AD389216-FEB9-4AED-8B06-2BDC959C1D70}" type="pres">
      <dgm:prSet presAssocID="{DC321E98-7944-428F-AE79-A1C2E95D14A7}" presName="hierRoot2" presStyleCnt="0">
        <dgm:presLayoutVars>
          <dgm:hierBranch val="init"/>
        </dgm:presLayoutVars>
      </dgm:prSet>
      <dgm:spPr/>
    </dgm:pt>
    <dgm:pt modelId="{E5055B57-8439-4680-8AFA-1F3738D462C9}" type="pres">
      <dgm:prSet presAssocID="{DC321E98-7944-428F-AE79-A1C2E95D14A7}" presName="rootComposite" presStyleCnt="0"/>
      <dgm:spPr/>
    </dgm:pt>
    <dgm:pt modelId="{4EB5A2FE-8C67-416B-A3CA-17867B1EE11B}" type="pres">
      <dgm:prSet presAssocID="{DC321E98-7944-428F-AE79-A1C2E95D14A7}" presName="rootText" presStyleLbl="node2" presStyleIdx="1" presStyleCnt="2" custScaleX="122733">
        <dgm:presLayoutVars>
          <dgm:chPref val="3"/>
        </dgm:presLayoutVars>
      </dgm:prSet>
      <dgm:spPr/>
    </dgm:pt>
    <dgm:pt modelId="{61000E75-522D-4282-9FE3-65D344E601CA}" type="pres">
      <dgm:prSet presAssocID="{DC321E98-7944-428F-AE79-A1C2E95D14A7}" presName="rootConnector" presStyleLbl="node2" presStyleIdx="1" presStyleCnt="2"/>
      <dgm:spPr/>
    </dgm:pt>
    <dgm:pt modelId="{0B673DBF-16F3-4EBA-9F4B-9658FF44CB37}" type="pres">
      <dgm:prSet presAssocID="{DC321E98-7944-428F-AE79-A1C2E95D14A7}" presName="hierChild4" presStyleCnt="0"/>
      <dgm:spPr/>
    </dgm:pt>
    <dgm:pt modelId="{98866C42-BAED-4C25-9070-00CB4606EE0E}" type="pres">
      <dgm:prSet presAssocID="{DC321E98-7944-428F-AE79-A1C2E95D14A7}" presName="hierChild5" presStyleCnt="0"/>
      <dgm:spPr/>
    </dgm:pt>
    <dgm:pt modelId="{5065DAA4-433B-4E2D-B81A-745BCAE6710A}" type="pres">
      <dgm:prSet presAssocID="{902EBED0-DB60-43AA-8584-0640E880A77D}" presName="hierChild3" presStyleCnt="0"/>
      <dgm:spPr/>
    </dgm:pt>
  </dgm:ptLst>
  <dgm:cxnLst>
    <dgm:cxn modelId="{F2860427-0E5C-4ACA-8A29-DE9E6B253963}" srcId="{902EBED0-DB60-43AA-8584-0640E880A77D}" destId="{236465E2-9D6B-475D-BC3A-F46A3BA2CED2}" srcOrd="0" destOrd="0" parTransId="{B2ADEE30-AC91-4EEC-8F1C-D53377F9DE30}" sibTransId="{21FB0681-9776-41FC-BBE4-C0C36160DB33}"/>
    <dgm:cxn modelId="{97F9992C-59B4-440C-9C84-35C9063C99E6}" type="presOf" srcId="{236465E2-9D6B-475D-BC3A-F46A3BA2CED2}" destId="{B13A6D04-714B-4456-A155-20D965BB2ECF}" srcOrd="1" destOrd="0" presId="urn:microsoft.com/office/officeart/2005/8/layout/orgChart1"/>
    <dgm:cxn modelId="{EAB04A68-6B63-4527-8EB9-96E889287D46}" type="presOf" srcId="{902EBED0-DB60-43AA-8584-0640E880A77D}" destId="{FC926D7B-D787-4559-BCBA-6AC68105566A}" srcOrd="1" destOrd="0" presId="urn:microsoft.com/office/officeart/2005/8/layout/orgChart1"/>
    <dgm:cxn modelId="{D95F987C-49D8-4830-AA1E-59F3865F0792}" type="presOf" srcId="{DC321E98-7944-428F-AE79-A1C2E95D14A7}" destId="{4EB5A2FE-8C67-416B-A3CA-17867B1EE11B}" srcOrd="0" destOrd="0" presId="urn:microsoft.com/office/officeart/2005/8/layout/orgChart1"/>
    <dgm:cxn modelId="{85EF8882-8AD5-4E42-ACE4-F68BC7FB4320}" type="presOf" srcId="{236465E2-9D6B-475D-BC3A-F46A3BA2CED2}" destId="{155F3A6D-C4A2-4091-A8CD-6DAC21F3A908}" srcOrd="0" destOrd="0" presId="urn:microsoft.com/office/officeart/2005/8/layout/orgChart1"/>
    <dgm:cxn modelId="{62BB329A-7B76-47D5-86A0-CF1FAAE2CBC6}" type="presOf" srcId="{9E66B044-F07D-4598-9661-9D57A8E4F6BA}" destId="{8D1AAE80-AE9E-4993-BE10-5A5B94AD648B}" srcOrd="0" destOrd="0" presId="urn:microsoft.com/office/officeart/2005/8/layout/orgChart1"/>
    <dgm:cxn modelId="{91F76FA0-58EC-4F60-AE90-102A240B5371}" type="presOf" srcId="{7C11E1BA-B6EA-4432-BF9E-B8B7474780FC}" destId="{9A61A595-D515-4831-AA89-118AA3A79382}" srcOrd="0" destOrd="0" presId="urn:microsoft.com/office/officeart/2005/8/layout/orgChart1"/>
    <dgm:cxn modelId="{2DB80FAF-DF06-428F-9BB9-7A2685630E58}" srcId="{902EBED0-DB60-43AA-8584-0640E880A77D}" destId="{DC321E98-7944-428F-AE79-A1C2E95D14A7}" srcOrd="1" destOrd="0" parTransId="{7C11E1BA-B6EA-4432-BF9E-B8B7474780FC}" sibTransId="{FFA736BB-22E9-405D-AA7D-425A8F1C548D}"/>
    <dgm:cxn modelId="{C0AFF9BD-660D-4B97-ABCB-9A2221886EB0}" type="presOf" srcId="{902EBED0-DB60-43AA-8584-0640E880A77D}" destId="{8DBDCC43-6A5A-4C4A-8A82-FD940DE9550E}" srcOrd="0" destOrd="0" presId="urn:microsoft.com/office/officeart/2005/8/layout/orgChart1"/>
    <dgm:cxn modelId="{1A6400E7-96C3-4D19-A63C-BEC2B076473C}" type="presOf" srcId="{B2ADEE30-AC91-4EEC-8F1C-D53377F9DE30}" destId="{0E5915C7-656A-4643-A93B-A31018C29B22}" srcOrd="0" destOrd="0" presId="urn:microsoft.com/office/officeart/2005/8/layout/orgChart1"/>
    <dgm:cxn modelId="{0E92A4E8-BAD6-45A0-99E9-19352ECFD135}" srcId="{9E66B044-F07D-4598-9661-9D57A8E4F6BA}" destId="{902EBED0-DB60-43AA-8584-0640E880A77D}" srcOrd="0" destOrd="0" parTransId="{97AB23B6-F1E7-4548-B265-D210C758B61A}" sibTransId="{D3712A37-89EE-40F2-BB44-33E0E99E0AC2}"/>
    <dgm:cxn modelId="{74AD86F8-D4C5-437C-8095-F2539DDD2F91}" type="presOf" srcId="{DC321E98-7944-428F-AE79-A1C2E95D14A7}" destId="{61000E75-522D-4282-9FE3-65D344E601CA}" srcOrd="1" destOrd="0" presId="urn:microsoft.com/office/officeart/2005/8/layout/orgChart1"/>
    <dgm:cxn modelId="{ACFA5882-DE86-4FBC-B56A-69AFF5DDCC88}" type="presParOf" srcId="{8D1AAE80-AE9E-4993-BE10-5A5B94AD648B}" destId="{4BBBD373-092D-4B64-8771-11AA3D844870}" srcOrd="0" destOrd="0" presId="urn:microsoft.com/office/officeart/2005/8/layout/orgChart1"/>
    <dgm:cxn modelId="{0957A1B2-0692-43AB-A77C-3BDA7C9C6D96}" type="presParOf" srcId="{4BBBD373-092D-4B64-8771-11AA3D844870}" destId="{DE8C6911-9093-4A36-8341-DDCB4D4C4FF9}" srcOrd="0" destOrd="0" presId="urn:microsoft.com/office/officeart/2005/8/layout/orgChart1"/>
    <dgm:cxn modelId="{9A944021-1537-467E-9177-8275A57225E1}" type="presParOf" srcId="{DE8C6911-9093-4A36-8341-DDCB4D4C4FF9}" destId="{8DBDCC43-6A5A-4C4A-8A82-FD940DE9550E}" srcOrd="0" destOrd="0" presId="urn:microsoft.com/office/officeart/2005/8/layout/orgChart1"/>
    <dgm:cxn modelId="{50A5E7CC-D628-4BBE-BF36-C353732A0D2E}" type="presParOf" srcId="{DE8C6911-9093-4A36-8341-DDCB4D4C4FF9}" destId="{FC926D7B-D787-4559-BCBA-6AC68105566A}" srcOrd="1" destOrd="0" presId="urn:microsoft.com/office/officeart/2005/8/layout/orgChart1"/>
    <dgm:cxn modelId="{EC825E7D-6C78-487D-A8D8-BC122FF2D13C}" type="presParOf" srcId="{4BBBD373-092D-4B64-8771-11AA3D844870}" destId="{E3995128-5998-4FEE-8B4D-92F268630893}" srcOrd="1" destOrd="0" presId="urn:microsoft.com/office/officeart/2005/8/layout/orgChart1"/>
    <dgm:cxn modelId="{6006F7A8-E220-4268-BDF4-8A44E7CC0BB6}" type="presParOf" srcId="{E3995128-5998-4FEE-8B4D-92F268630893}" destId="{0E5915C7-656A-4643-A93B-A31018C29B22}" srcOrd="0" destOrd="0" presId="urn:microsoft.com/office/officeart/2005/8/layout/orgChart1"/>
    <dgm:cxn modelId="{AE85CA3B-A23F-4FD7-ADA9-74874EC237AF}" type="presParOf" srcId="{E3995128-5998-4FEE-8B4D-92F268630893}" destId="{DDD16D7F-C291-4FE9-893F-E748A6541F20}" srcOrd="1" destOrd="0" presId="urn:microsoft.com/office/officeart/2005/8/layout/orgChart1"/>
    <dgm:cxn modelId="{2A99FD3B-0631-4087-B199-367FF0F49065}" type="presParOf" srcId="{DDD16D7F-C291-4FE9-893F-E748A6541F20}" destId="{EB8C027F-E191-4D0A-8C47-AA095BFA3D52}" srcOrd="0" destOrd="0" presId="urn:microsoft.com/office/officeart/2005/8/layout/orgChart1"/>
    <dgm:cxn modelId="{10B9AC59-995B-45AA-B590-9F9E742793AD}" type="presParOf" srcId="{EB8C027F-E191-4D0A-8C47-AA095BFA3D52}" destId="{155F3A6D-C4A2-4091-A8CD-6DAC21F3A908}" srcOrd="0" destOrd="0" presId="urn:microsoft.com/office/officeart/2005/8/layout/orgChart1"/>
    <dgm:cxn modelId="{D2CDF42E-5C8C-43B7-B7FC-2A25BF4F61E1}" type="presParOf" srcId="{EB8C027F-E191-4D0A-8C47-AA095BFA3D52}" destId="{B13A6D04-714B-4456-A155-20D965BB2ECF}" srcOrd="1" destOrd="0" presId="urn:microsoft.com/office/officeart/2005/8/layout/orgChart1"/>
    <dgm:cxn modelId="{E56427DD-0BD2-440B-8061-9A61E8ADB79F}" type="presParOf" srcId="{DDD16D7F-C291-4FE9-893F-E748A6541F20}" destId="{66AB12C2-C91B-4999-9A31-D6FA809371E2}" srcOrd="1" destOrd="0" presId="urn:microsoft.com/office/officeart/2005/8/layout/orgChart1"/>
    <dgm:cxn modelId="{E7FB9FF2-3FD3-4F29-B12E-8762E27F4A46}" type="presParOf" srcId="{DDD16D7F-C291-4FE9-893F-E748A6541F20}" destId="{F4281204-5E40-4D2A-ACB3-C7A0CF8074B8}" srcOrd="2" destOrd="0" presId="urn:microsoft.com/office/officeart/2005/8/layout/orgChart1"/>
    <dgm:cxn modelId="{4CEBE5E3-B30D-43C7-A5DA-4A541332B9FE}" type="presParOf" srcId="{E3995128-5998-4FEE-8B4D-92F268630893}" destId="{9A61A595-D515-4831-AA89-118AA3A79382}" srcOrd="2" destOrd="0" presId="urn:microsoft.com/office/officeart/2005/8/layout/orgChart1"/>
    <dgm:cxn modelId="{EDA3C5A4-BF0E-4169-81E6-136B9E411BEE}" type="presParOf" srcId="{E3995128-5998-4FEE-8B4D-92F268630893}" destId="{AD389216-FEB9-4AED-8B06-2BDC959C1D70}" srcOrd="3" destOrd="0" presId="urn:microsoft.com/office/officeart/2005/8/layout/orgChart1"/>
    <dgm:cxn modelId="{0AB9F20D-0591-4F6A-B9A7-729381406BA7}" type="presParOf" srcId="{AD389216-FEB9-4AED-8B06-2BDC959C1D70}" destId="{E5055B57-8439-4680-8AFA-1F3738D462C9}" srcOrd="0" destOrd="0" presId="urn:microsoft.com/office/officeart/2005/8/layout/orgChart1"/>
    <dgm:cxn modelId="{2D805A22-DBA0-414A-9D56-CDD609B08D8E}" type="presParOf" srcId="{E5055B57-8439-4680-8AFA-1F3738D462C9}" destId="{4EB5A2FE-8C67-416B-A3CA-17867B1EE11B}" srcOrd="0" destOrd="0" presId="urn:microsoft.com/office/officeart/2005/8/layout/orgChart1"/>
    <dgm:cxn modelId="{FE52CBB3-17AF-4342-B7D0-0C372107B039}" type="presParOf" srcId="{E5055B57-8439-4680-8AFA-1F3738D462C9}" destId="{61000E75-522D-4282-9FE3-65D344E601CA}" srcOrd="1" destOrd="0" presId="urn:microsoft.com/office/officeart/2005/8/layout/orgChart1"/>
    <dgm:cxn modelId="{FA6D2AB0-D8E9-46E7-8E54-1E85C07C1DAD}" type="presParOf" srcId="{AD389216-FEB9-4AED-8B06-2BDC959C1D70}" destId="{0B673DBF-16F3-4EBA-9F4B-9658FF44CB37}" srcOrd="1" destOrd="0" presId="urn:microsoft.com/office/officeart/2005/8/layout/orgChart1"/>
    <dgm:cxn modelId="{F35E5B3F-602C-4D5D-B47C-FFD6656E5CC4}" type="presParOf" srcId="{AD389216-FEB9-4AED-8B06-2BDC959C1D70}" destId="{98866C42-BAED-4C25-9070-00CB4606EE0E}" srcOrd="2" destOrd="0" presId="urn:microsoft.com/office/officeart/2005/8/layout/orgChart1"/>
    <dgm:cxn modelId="{9AFBFA61-B8AF-413D-98A9-5D495AFC309D}" type="presParOf" srcId="{4BBBD373-092D-4B64-8771-11AA3D844870}" destId="{5065DAA4-433B-4E2D-B81A-745BCAE6710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E69E681-D531-4011-B667-B173C44C1991}" type="doc">
      <dgm:prSet loTypeId="urn:microsoft.com/office/officeart/2011/layout/HexagonRadial" loCatId="officeonline" qsTypeId="urn:microsoft.com/office/officeart/2005/8/quickstyle/simple1" qsCatId="simple" csTypeId="urn:microsoft.com/office/officeart/2005/8/colors/colorful1" csCatId="colorful" phldr="1"/>
      <dgm:spPr/>
      <dgm:t>
        <a:bodyPr/>
        <a:lstStyle/>
        <a:p>
          <a:endParaRPr lang="en-US"/>
        </a:p>
      </dgm:t>
    </dgm:pt>
    <dgm:pt modelId="{0B77BEE6-70B4-4965-A663-CD6084D8CA2D}">
      <dgm:prSet phldrT="[Text]"/>
      <dgm:spPr/>
      <dgm:t>
        <a:bodyPr/>
        <a:lstStyle/>
        <a:p>
          <a:r>
            <a:rPr lang="en-US" b="0" dirty="0">
              <a:latin typeface="+mj-lt"/>
            </a:rPr>
            <a:t>Work-Study</a:t>
          </a:r>
        </a:p>
      </dgm:t>
    </dgm:pt>
    <dgm:pt modelId="{97264BBB-2393-4957-82D6-7498ABE7FB71}" type="parTrans" cxnId="{793E3B7C-A3B4-4809-950C-BDD929B91CAA}">
      <dgm:prSet/>
      <dgm:spPr/>
      <dgm:t>
        <a:bodyPr/>
        <a:lstStyle/>
        <a:p>
          <a:endParaRPr lang="en-US"/>
        </a:p>
      </dgm:t>
    </dgm:pt>
    <dgm:pt modelId="{F9411811-F390-4D04-B1C4-284F40532DE3}" type="sibTrans" cxnId="{793E3B7C-A3B4-4809-950C-BDD929B91CAA}">
      <dgm:prSet/>
      <dgm:spPr/>
      <dgm:t>
        <a:bodyPr/>
        <a:lstStyle/>
        <a:p>
          <a:endParaRPr lang="en-US"/>
        </a:p>
      </dgm:t>
    </dgm:pt>
    <dgm:pt modelId="{3002F41C-8EDD-4468-85AB-CCF768CF9EC3}">
      <dgm:prSet phldrT="[Text]"/>
      <dgm:spPr/>
      <dgm:t>
        <a:bodyPr/>
        <a:lstStyle/>
        <a:p>
          <a:r>
            <a:rPr lang="en-US" b="0" i="0" dirty="0">
              <a:latin typeface="+mj-lt"/>
            </a:rPr>
            <a:t>Tutoring</a:t>
          </a:r>
          <a:endParaRPr lang="en-US" b="0" dirty="0">
            <a:latin typeface="+mj-lt"/>
          </a:endParaRPr>
        </a:p>
      </dgm:t>
    </dgm:pt>
    <dgm:pt modelId="{043837AA-B867-4BFA-9451-6E69B76145A5}" type="parTrans" cxnId="{92FE78E5-A6F3-44FF-B7A8-1050FDE74CEF}">
      <dgm:prSet/>
      <dgm:spPr/>
      <dgm:t>
        <a:bodyPr/>
        <a:lstStyle/>
        <a:p>
          <a:endParaRPr lang="en-US"/>
        </a:p>
      </dgm:t>
    </dgm:pt>
    <dgm:pt modelId="{32FBD4D1-D131-446F-A7E6-D6C5A89CDBB9}" type="sibTrans" cxnId="{92FE78E5-A6F3-44FF-B7A8-1050FDE74CEF}">
      <dgm:prSet/>
      <dgm:spPr/>
      <dgm:t>
        <a:bodyPr/>
        <a:lstStyle/>
        <a:p>
          <a:endParaRPr lang="en-US"/>
        </a:p>
      </dgm:t>
    </dgm:pt>
    <dgm:pt modelId="{EA113B76-7E47-4616-AB17-AB859AB51D6D}">
      <dgm:prSet phldrT="[Text]"/>
      <dgm:spPr/>
      <dgm:t>
        <a:bodyPr/>
        <a:lstStyle/>
        <a:p>
          <a:r>
            <a:rPr lang="en-US" b="0" i="0" dirty="0">
              <a:latin typeface="+mj-lt"/>
            </a:rPr>
            <a:t>Fitness Center</a:t>
          </a:r>
          <a:endParaRPr lang="en-US" b="0" dirty="0">
            <a:latin typeface="+mj-lt"/>
          </a:endParaRPr>
        </a:p>
      </dgm:t>
    </dgm:pt>
    <dgm:pt modelId="{2AD71F86-7CAC-42F2-AF9C-423A242EB2BE}" type="parTrans" cxnId="{EE5AC268-A039-44EC-9827-FA306B84E254}">
      <dgm:prSet/>
      <dgm:spPr/>
      <dgm:t>
        <a:bodyPr/>
        <a:lstStyle/>
        <a:p>
          <a:endParaRPr lang="en-US"/>
        </a:p>
      </dgm:t>
    </dgm:pt>
    <dgm:pt modelId="{6910CE63-0DA2-44E4-A5E1-6EB0E0D116EE}" type="sibTrans" cxnId="{EE5AC268-A039-44EC-9827-FA306B84E254}">
      <dgm:prSet/>
      <dgm:spPr/>
      <dgm:t>
        <a:bodyPr/>
        <a:lstStyle/>
        <a:p>
          <a:endParaRPr lang="en-US"/>
        </a:p>
      </dgm:t>
    </dgm:pt>
    <dgm:pt modelId="{B2935345-28F4-47C2-8D1B-D3F026F3F3FC}">
      <dgm:prSet phldrT="[Text]"/>
      <dgm:spPr/>
      <dgm:t>
        <a:bodyPr/>
        <a:lstStyle/>
        <a:p>
          <a:r>
            <a:rPr lang="en-US" b="0" dirty="0">
              <a:latin typeface="+mj-lt"/>
            </a:rPr>
            <a:t>Library</a:t>
          </a:r>
        </a:p>
      </dgm:t>
    </dgm:pt>
    <dgm:pt modelId="{A55A9185-3E04-45EA-ABF9-A7AB37F41903}" type="parTrans" cxnId="{A693AF09-303F-407C-A5DD-3F293A4F9DC3}">
      <dgm:prSet/>
      <dgm:spPr/>
      <dgm:t>
        <a:bodyPr/>
        <a:lstStyle/>
        <a:p>
          <a:endParaRPr lang="en-US"/>
        </a:p>
      </dgm:t>
    </dgm:pt>
    <dgm:pt modelId="{0CB7395D-866A-4E9F-B32F-74FED7FA05C3}" type="sibTrans" cxnId="{A693AF09-303F-407C-A5DD-3F293A4F9DC3}">
      <dgm:prSet/>
      <dgm:spPr/>
      <dgm:t>
        <a:bodyPr/>
        <a:lstStyle/>
        <a:p>
          <a:endParaRPr lang="en-US"/>
        </a:p>
      </dgm:t>
    </dgm:pt>
    <dgm:pt modelId="{8514A567-7BD3-45F4-B372-214677427C79}">
      <dgm:prSet phldrT="[Text]"/>
      <dgm:spPr/>
      <dgm:t>
        <a:bodyPr/>
        <a:lstStyle/>
        <a:p>
          <a:r>
            <a:rPr lang="en-US" b="0" i="0" dirty="0">
              <a:latin typeface="+mj-lt"/>
            </a:rPr>
            <a:t>Computer Lab</a:t>
          </a:r>
          <a:endParaRPr lang="en-US" b="0" dirty="0">
            <a:latin typeface="+mj-lt"/>
          </a:endParaRPr>
        </a:p>
      </dgm:t>
    </dgm:pt>
    <dgm:pt modelId="{4F145852-DBCE-4FA3-B469-76AE0619AEE4}" type="parTrans" cxnId="{DD7EE880-0C33-42D6-9E8C-C834F829CC7C}">
      <dgm:prSet/>
      <dgm:spPr/>
      <dgm:t>
        <a:bodyPr/>
        <a:lstStyle/>
        <a:p>
          <a:endParaRPr lang="en-US"/>
        </a:p>
      </dgm:t>
    </dgm:pt>
    <dgm:pt modelId="{EEC4157E-26FD-478D-B7D7-2B6ED7A1852B}" type="sibTrans" cxnId="{DD7EE880-0C33-42D6-9E8C-C834F829CC7C}">
      <dgm:prSet/>
      <dgm:spPr/>
      <dgm:t>
        <a:bodyPr/>
        <a:lstStyle/>
        <a:p>
          <a:endParaRPr lang="en-US"/>
        </a:p>
      </dgm:t>
    </dgm:pt>
    <dgm:pt modelId="{FBFD155F-A83D-4020-8AFB-BC2C778471C1}">
      <dgm:prSet phldrT="[Text]"/>
      <dgm:spPr/>
      <dgm:t>
        <a:bodyPr/>
        <a:lstStyle/>
        <a:p>
          <a:r>
            <a:rPr lang="en-US" b="0" dirty="0">
              <a:latin typeface="+mj-lt"/>
            </a:rPr>
            <a:t>Student Life</a:t>
          </a:r>
        </a:p>
      </dgm:t>
    </dgm:pt>
    <dgm:pt modelId="{D1BC07A5-4C14-4979-8956-1D682ECF345A}" type="parTrans" cxnId="{C45C8791-672A-4736-9CCB-5D75F2C97BA0}">
      <dgm:prSet/>
      <dgm:spPr/>
      <dgm:t>
        <a:bodyPr/>
        <a:lstStyle/>
        <a:p>
          <a:endParaRPr lang="en-US"/>
        </a:p>
      </dgm:t>
    </dgm:pt>
    <dgm:pt modelId="{50EFD683-3A7E-4287-B22E-B82C466DE81F}" type="sibTrans" cxnId="{C45C8791-672A-4736-9CCB-5D75F2C97BA0}">
      <dgm:prSet/>
      <dgm:spPr/>
      <dgm:t>
        <a:bodyPr/>
        <a:lstStyle/>
        <a:p>
          <a:endParaRPr lang="en-US"/>
        </a:p>
      </dgm:t>
    </dgm:pt>
    <dgm:pt modelId="{4A656FFC-7EB6-4747-AD66-7EA5659DEB64}">
      <dgm:prSet phldrT="[Text]"/>
      <dgm:spPr/>
      <dgm:t>
        <a:bodyPr/>
        <a:lstStyle/>
        <a:p>
          <a:r>
            <a:rPr lang="en-US" b="0" dirty="0">
              <a:latin typeface="+mj-lt"/>
            </a:rPr>
            <a:t>Outreach</a:t>
          </a:r>
        </a:p>
      </dgm:t>
    </dgm:pt>
    <dgm:pt modelId="{58F48B35-AA19-42F4-B06A-BB76313B987F}" type="parTrans" cxnId="{7FFF4D48-50C7-4FF2-A0D9-4DB9E4AF6F7C}">
      <dgm:prSet/>
      <dgm:spPr/>
      <dgm:t>
        <a:bodyPr/>
        <a:lstStyle/>
        <a:p>
          <a:endParaRPr lang="en-US"/>
        </a:p>
      </dgm:t>
    </dgm:pt>
    <dgm:pt modelId="{9A71728B-2BC1-4117-842A-0ECA3553F1F2}" type="sibTrans" cxnId="{7FFF4D48-50C7-4FF2-A0D9-4DB9E4AF6F7C}">
      <dgm:prSet/>
      <dgm:spPr/>
      <dgm:t>
        <a:bodyPr/>
        <a:lstStyle/>
        <a:p>
          <a:endParaRPr lang="en-US"/>
        </a:p>
      </dgm:t>
    </dgm:pt>
    <dgm:pt modelId="{2396648C-2356-4879-93B9-868B1633E099}" type="pres">
      <dgm:prSet presAssocID="{1E69E681-D531-4011-B667-B173C44C1991}" presName="Name0" presStyleCnt="0">
        <dgm:presLayoutVars>
          <dgm:chMax val="1"/>
          <dgm:chPref val="1"/>
          <dgm:dir/>
          <dgm:animOne val="branch"/>
          <dgm:animLvl val="lvl"/>
        </dgm:presLayoutVars>
      </dgm:prSet>
      <dgm:spPr/>
    </dgm:pt>
    <dgm:pt modelId="{69AD95CC-3379-4A73-B0BF-72FA9135A68F}" type="pres">
      <dgm:prSet presAssocID="{0B77BEE6-70B4-4965-A663-CD6084D8CA2D}" presName="Parent" presStyleLbl="node0" presStyleIdx="0" presStyleCnt="1">
        <dgm:presLayoutVars>
          <dgm:chMax val="6"/>
          <dgm:chPref val="6"/>
        </dgm:presLayoutVars>
      </dgm:prSet>
      <dgm:spPr/>
    </dgm:pt>
    <dgm:pt modelId="{062B848C-815F-4031-82BA-27CC31E574B6}" type="pres">
      <dgm:prSet presAssocID="{3002F41C-8EDD-4468-85AB-CCF768CF9EC3}" presName="Accent1" presStyleCnt="0"/>
      <dgm:spPr/>
    </dgm:pt>
    <dgm:pt modelId="{E786A68A-645F-4002-9872-A4099C656C83}" type="pres">
      <dgm:prSet presAssocID="{3002F41C-8EDD-4468-85AB-CCF768CF9EC3}" presName="Accent" presStyleLbl="bgShp" presStyleIdx="0" presStyleCnt="6"/>
      <dgm:spPr/>
    </dgm:pt>
    <dgm:pt modelId="{389192F7-F7B1-40C9-846A-3396CBDE3119}" type="pres">
      <dgm:prSet presAssocID="{3002F41C-8EDD-4468-85AB-CCF768CF9EC3}" presName="Child1" presStyleLbl="node1" presStyleIdx="0" presStyleCnt="6">
        <dgm:presLayoutVars>
          <dgm:chMax val="0"/>
          <dgm:chPref val="0"/>
          <dgm:bulletEnabled val="1"/>
        </dgm:presLayoutVars>
      </dgm:prSet>
      <dgm:spPr/>
    </dgm:pt>
    <dgm:pt modelId="{27A166D3-939A-4AD7-8DDD-183F20730EB6}" type="pres">
      <dgm:prSet presAssocID="{EA113B76-7E47-4616-AB17-AB859AB51D6D}" presName="Accent2" presStyleCnt="0"/>
      <dgm:spPr/>
    </dgm:pt>
    <dgm:pt modelId="{DDA1AB3F-573E-41A2-8EF8-8BE47107F68C}" type="pres">
      <dgm:prSet presAssocID="{EA113B76-7E47-4616-AB17-AB859AB51D6D}" presName="Accent" presStyleLbl="bgShp" presStyleIdx="1" presStyleCnt="6" custLinFactX="-100000" custLinFactY="230432" custLinFactNeighborX="-156887" custLinFactNeighborY="300000"/>
      <dgm:spPr/>
    </dgm:pt>
    <dgm:pt modelId="{20A57795-2D8B-43B8-A094-8626EE386001}" type="pres">
      <dgm:prSet presAssocID="{EA113B76-7E47-4616-AB17-AB859AB51D6D}" presName="Child2" presStyleLbl="node1" presStyleIdx="1" presStyleCnt="6">
        <dgm:presLayoutVars>
          <dgm:chMax val="0"/>
          <dgm:chPref val="0"/>
          <dgm:bulletEnabled val="1"/>
        </dgm:presLayoutVars>
      </dgm:prSet>
      <dgm:spPr/>
    </dgm:pt>
    <dgm:pt modelId="{10B11F32-4C27-4147-96FD-B799F13C52B1}" type="pres">
      <dgm:prSet presAssocID="{B2935345-28F4-47C2-8D1B-D3F026F3F3FC}" presName="Accent3" presStyleCnt="0"/>
      <dgm:spPr/>
    </dgm:pt>
    <dgm:pt modelId="{D34B6688-F82E-4C7C-BCFC-2034F2DC21B1}" type="pres">
      <dgm:prSet presAssocID="{B2935345-28F4-47C2-8D1B-D3F026F3F3FC}" presName="Accent" presStyleLbl="bgShp" presStyleIdx="2" presStyleCnt="6" custLinFactY="-100000" custLinFactNeighborX="-31561" custLinFactNeighborY="-195320"/>
      <dgm:spPr/>
    </dgm:pt>
    <dgm:pt modelId="{47A92EF8-0821-4686-BF33-32E42AF054E8}" type="pres">
      <dgm:prSet presAssocID="{B2935345-28F4-47C2-8D1B-D3F026F3F3FC}" presName="Child3" presStyleLbl="node1" presStyleIdx="2" presStyleCnt="6">
        <dgm:presLayoutVars>
          <dgm:chMax val="0"/>
          <dgm:chPref val="0"/>
          <dgm:bulletEnabled val="1"/>
        </dgm:presLayoutVars>
      </dgm:prSet>
      <dgm:spPr/>
    </dgm:pt>
    <dgm:pt modelId="{C2723F32-2F7C-4920-82CE-D9755B03DC4F}" type="pres">
      <dgm:prSet presAssocID="{8514A567-7BD3-45F4-B372-214677427C79}" presName="Accent4" presStyleCnt="0"/>
      <dgm:spPr/>
    </dgm:pt>
    <dgm:pt modelId="{CA4FA584-D59F-4E42-9AC9-20EA9037F5E4}" type="pres">
      <dgm:prSet presAssocID="{8514A567-7BD3-45F4-B372-214677427C79}" presName="Accent" presStyleLbl="bgShp" presStyleIdx="3" presStyleCnt="6" custLinFactX="-100000" custLinFactY="-200000" custLinFactNeighborX="-185986" custLinFactNeighborY="-299676"/>
      <dgm:spPr/>
    </dgm:pt>
    <dgm:pt modelId="{A2306791-AD59-4F1E-86E4-264DF306853A}" type="pres">
      <dgm:prSet presAssocID="{8514A567-7BD3-45F4-B372-214677427C79}" presName="Child4" presStyleLbl="node1" presStyleIdx="3" presStyleCnt="6">
        <dgm:presLayoutVars>
          <dgm:chMax val="0"/>
          <dgm:chPref val="0"/>
          <dgm:bulletEnabled val="1"/>
        </dgm:presLayoutVars>
      </dgm:prSet>
      <dgm:spPr/>
    </dgm:pt>
    <dgm:pt modelId="{140D4FCC-E1A3-4EF2-9091-EE0CBB1898A4}" type="pres">
      <dgm:prSet presAssocID="{FBFD155F-A83D-4020-8AFB-BC2C778471C1}" presName="Accent5" presStyleCnt="0"/>
      <dgm:spPr/>
    </dgm:pt>
    <dgm:pt modelId="{3C490377-36B7-49B8-804F-F33DDEB03D3D}" type="pres">
      <dgm:prSet presAssocID="{FBFD155F-A83D-4020-8AFB-BC2C778471C1}" presName="Accent" presStyleLbl="bgShp" presStyleIdx="4" presStyleCnt="6" custLinFactY="7217" custLinFactNeighborX="-86227" custLinFactNeighborY="100000"/>
      <dgm:spPr/>
    </dgm:pt>
    <dgm:pt modelId="{A7535155-AEA2-446C-9AB5-ECE52B558BED}" type="pres">
      <dgm:prSet presAssocID="{FBFD155F-A83D-4020-8AFB-BC2C778471C1}" presName="Child5" presStyleLbl="node1" presStyleIdx="4" presStyleCnt="6">
        <dgm:presLayoutVars>
          <dgm:chMax val="0"/>
          <dgm:chPref val="0"/>
          <dgm:bulletEnabled val="1"/>
        </dgm:presLayoutVars>
      </dgm:prSet>
      <dgm:spPr/>
    </dgm:pt>
    <dgm:pt modelId="{BBA0171A-1D01-48F6-927B-E98CEDF36C51}" type="pres">
      <dgm:prSet presAssocID="{4A656FFC-7EB6-4747-AD66-7EA5659DEB64}" presName="Accent6" presStyleCnt="0"/>
      <dgm:spPr/>
    </dgm:pt>
    <dgm:pt modelId="{851CCD39-6205-428F-8D61-A00C0FB47947}" type="pres">
      <dgm:prSet presAssocID="{4A656FFC-7EB6-4747-AD66-7EA5659DEB64}" presName="Accent" presStyleLbl="bgShp" presStyleIdx="5" presStyleCnt="6" custLinFactX="162153" custLinFactY="100000" custLinFactNeighborX="200000" custLinFactNeighborY="195756"/>
      <dgm:spPr/>
    </dgm:pt>
    <dgm:pt modelId="{D39CC2E8-C032-44BA-90D8-989F6976E989}" type="pres">
      <dgm:prSet presAssocID="{4A656FFC-7EB6-4747-AD66-7EA5659DEB64}" presName="Child6" presStyleLbl="node1" presStyleIdx="5" presStyleCnt="6">
        <dgm:presLayoutVars>
          <dgm:chMax val="0"/>
          <dgm:chPref val="0"/>
          <dgm:bulletEnabled val="1"/>
        </dgm:presLayoutVars>
      </dgm:prSet>
      <dgm:spPr/>
    </dgm:pt>
  </dgm:ptLst>
  <dgm:cxnLst>
    <dgm:cxn modelId="{A693AF09-303F-407C-A5DD-3F293A4F9DC3}" srcId="{0B77BEE6-70B4-4965-A663-CD6084D8CA2D}" destId="{B2935345-28F4-47C2-8D1B-D3F026F3F3FC}" srcOrd="2" destOrd="0" parTransId="{A55A9185-3E04-45EA-ABF9-A7AB37F41903}" sibTransId="{0CB7395D-866A-4E9F-B32F-74FED7FA05C3}"/>
    <dgm:cxn modelId="{60F65A2E-3147-413A-BC9D-C59D98BFF1EE}" type="presOf" srcId="{EA113B76-7E47-4616-AB17-AB859AB51D6D}" destId="{20A57795-2D8B-43B8-A094-8626EE386001}" srcOrd="0" destOrd="0" presId="urn:microsoft.com/office/officeart/2011/layout/HexagonRadial"/>
    <dgm:cxn modelId="{8B6CA630-4857-4BF5-A9CD-3276BA9F8A06}" type="presOf" srcId="{1E69E681-D531-4011-B667-B173C44C1991}" destId="{2396648C-2356-4879-93B9-868B1633E099}" srcOrd="0" destOrd="0" presId="urn:microsoft.com/office/officeart/2011/layout/HexagonRadial"/>
    <dgm:cxn modelId="{7FFF4D48-50C7-4FF2-A0D9-4DB9E4AF6F7C}" srcId="{0B77BEE6-70B4-4965-A663-CD6084D8CA2D}" destId="{4A656FFC-7EB6-4747-AD66-7EA5659DEB64}" srcOrd="5" destOrd="0" parTransId="{58F48B35-AA19-42F4-B06A-BB76313B987F}" sibTransId="{9A71728B-2BC1-4117-842A-0ECA3553F1F2}"/>
    <dgm:cxn modelId="{EE5AC268-A039-44EC-9827-FA306B84E254}" srcId="{0B77BEE6-70B4-4965-A663-CD6084D8CA2D}" destId="{EA113B76-7E47-4616-AB17-AB859AB51D6D}" srcOrd="1" destOrd="0" parTransId="{2AD71F86-7CAC-42F2-AF9C-423A242EB2BE}" sibTransId="{6910CE63-0DA2-44E4-A5E1-6EB0E0D116EE}"/>
    <dgm:cxn modelId="{DE570350-DD4F-41BD-82EA-EEAE2AC4DD01}" type="presOf" srcId="{B2935345-28F4-47C2-8D1B-D3F026F3F3FC}" destId="{47A92EF8-0821-4686-BF33-32E42AF054E8}" srcOrd="0" destOrd="0" presId="urn:microsoft.com/office/officeart/2011/layout/HexagonRadial"/>
    <dgm:cxn modelId="{793E3B7C-A3B4-4809-950C-BDD929B91CAA}" srcId="{1E69E681-D531-4011-B667-B173C44C1991}" destId="{0B77BEE6-70B4-4965-A663-CD6084D8CA2D}" srcOrd="0" destOrd="0" parTransId="{97264BBB-2393-4957-82D6-7498ABE7FB71}" sibTransId="{F9411811-F390-4D04-B1C4-284F40532DE3}"/>
    <dgm:cxn modelId="{DD7EE880-0C33-42D6-9E8C-C834F829CC7C}" srcId="{0B77BEE6-70B4-4965-A663-CD6084D8CA2D}" destId="{8514A567-7BD3-45F4-B372-214677427C79}" srcOrd="3" destOrd="0" parTransId="{4F145852-DBCE-4FA3-B469-76AE0619AEE4}" sibTransId="{EEC4157E-26FD-478D-B7D7-2B6ED7A1852B}"/>
    <dgm:cxn modelId="{C45C8791-672A-4736-9CCB-5D75F2C97BA0}" srcId="{0B77BEE6-70B4-4965-A663-CD6084D8CA2D}" destId="{FBFD155F-A83D-4020-8AFB-BC2C778471C1}" srcOrd="4" destOrd="0" parTransId="{D1BC07A5-4C14-4979-8956-1D682ECF345A}" sibTransId="{50EFD683-3A7E-4287-B22E-B82C466DE81F}"/>
    <dgm:cxn modelId="{0966E9B6-C34C-44BC-9352-5C3E377EADA1}" type="presOf" srcId="{8514A567-7BD3-45F4-B372-214677427C79}" destId="{A2306791-AD59-4F1E-86E4-264DF306853A}" srcOrd="0" destOrd="0" presId="urn:microsoft.com/office/officeart/2011/layout/HexagonRadial"/>
    <dgm:cxn modelId="{92C8A6BE-9AC6-43E1-949F-8E51F8B8485D}" type="presOf" srcId="{4A656FFC-7EB6-4747-AD66-7EA5659DEB64}" destId="{D39CC2E8-C032-44BA-90D8-989F6976E989}" srcOrd="0" destOrd="0" presId="urn:microsoft.com/office/officeart/2011/layout/HexagonRadial"/>
    <dgm:cxn modelId="{A4242BC2-7847-4C63-BB75-35C391788D1E}" type="presOf" srcId="{0B77BEE6-70B4-4965-A663-CD6084D8CA2D}" destId="{69AD95CC-3379-4A73-B0BF-72FA9135A68F}" srcOrd="0" destOrd="0" presId="urn:microsoft.com/office/officeart/2011/layout/HexagonRadial"/>
    <dgm:cxn modelId="{FA9CBCCA-424F-471F-8442-37E9689D80F5}" type="presOf" srcId="{FBFD155F-A83D-4020-8AFB-BC2C778471C1}" destId="{A7535155-AEA2-446C-9AB5-ECE52B558BED}" srcOrd="0" destOrd="0" presId="urn:microsoft.com/office/officeart/2011/layout/HexagonRadial"/>
    <dgm:cxn modelId="{92FE78E5-A6F3-44FF-B7A8-1050FDE74CEF}" srcId="{0B77BEE6-70B4-4965-A663-CD6084D8CA2D}" destId="{3002F41C-8EDD-4468-85AB-CCF768CF9EC3}" srcOrd="0" destOrd="0" parTransId="{043837AA-B867-4BFA-9451-6E69B76145A5}" sibTransId="{32FBD4D1-D131-446F-A7E6-D6C5A89CDBB9}"/>
    <dgm:cxn modelId="{FB5C78FD-4962-4315-B5AB-C5212B8D7E05}" type="presOf" srcId="{3002F41C-8EDD-4468-85AB-CCF768CF9EC3}" destId="{389192F7-F7B1-40C9-846A-3396CBDE3119}" srcOrd="0" destOrd="0" presId="urn:microsoft.com/office/officeart/2011/layout/HexagonRadial"/>
    <dgm:cxn modelId="{CCFFB5D0-D52C-46EF-A33E-873ADDEC070B}" type="presParOf" srcId="{2396648C-2356-4879-93B9-868B1633E099}" destId="{69AD95CC-3379-4A73-B0BF-72FA9135A68F}" srcOrd="0" destOrd="0" presId="urn:microsoft.com/office/officeart/2011/layout/HexagonRadial"/>
    <dgm:cxn modelId="{69A1E1E0-37DA-4B5C-B89F-D2CEA6955010}" type="presParOf" srcId="{2396648C-2356-4879-93B9-868B1633E099}" destId="{062B848C-815F-4031-82BA-27CC31E574B6}" srcOrd="1" destOrd="0" presId="urn:microsoft.com/office/officeart/2011/layout/HexagonRadial"/>
    <dgm:cxn modelId="{31AFE9EF-76D2-4424-A653-66358D7C5741}" type="presParOf" srcId="{062B848C-815F-4031-82BA-27CC31E574B6}" destId="{E786A68A-645F-4002-9872-A4099C656C83}" srcOrd="0" destOrd="0" presId="urn:microsoft.com/office/officeart/2011/layout/HexagonRadial"/>
    <dgm:cxn modelId="{84F6DF38-4B01-420B-9D17-43203EDDC7F0}" type="presParOf" srcId="{2396648C-2356-4879-93B9-868B1633E099}" destId="{389192F7-F7B1-40C9-846A-3396CBDE3119}" srcOrd="2" destOrd="0" presId="urn:microsoft.com/office/officeart/2011/layout/HexagonRadial"/>
    <dgm:cxn modelId="{931BCAA5-142D-4FA1-BCA6-4E2FA2A052A3}" type="presParOf" srcId="{2396648C-2356-4879-93B9-868B1633E099}" destId="{27A166D3-939A-4AD7-8DDD-183F20730EB6}" srcOrd="3" destOrd="0" presId="urn:microsoft.com/office/officeart/2011/layout/HexagonRadial"/>
    <dgm:cxn modelId="{D36F0C1D-EFC8-4663-B5AD-1865B53CBC07}" type="presParOf" srcId="{27A166D3-939A-4AD7-8DDD-183F20730EB6}" destId="{DDA1AB3F-573E-41A2-8EF8-8BE47107F68C}" srcOrd="0" destOrd="0" presId="urn:microsoft.com/office/officeart/2011/layout/HexagonRadial"/>
    <dgm:cxn modelId="{7D3ACBD3-80D6-4C89-9AF5-D30E51BF92F8}" type="presParOf" srcId="{2396648C-2356-4879-93B9-868B1633E099}" destId="{20A57795-2D8B-43B8-A094-8626EE386001}" srcOrd="4" destOrd="0" presId="urn:microsoft.com/office/officeart/2011/layout/HexagonRadial"/>
    <dgm:cxn modelId="{C5ADD459-EEB0-4600-A268-DFB411305590}" type="presParOf" srcId="{2396648C-2356-4879-93B9-868B1633E099}" destId="{10B11F32-4C27-4147-96FD-B799F13C52B1}" srcOrd="5" destOrd="0" presId="urn:microsoft.com/office/officeart/2011/layout/HexagonRadial"/>
    <dgm:cxn modelId="{64301102-9ECD-4DA6-A345-83A27E732FE5}" type="presParOf" srcId="{10B11F32-4C27-4147-96FD-B799F13C52B1}" destId="{D34B6688-F82E-4C7C-BCFC-2034F2DC21B1}" srcOrd="0" destOrd="0" presId="urn:microsoft.com/office/officeart/2011/layout/HexagonRadial"/>
    <dgm:cxn modelId="{C741E6FE-852C-44D7-AF44-DAD60864F370}" type="presParOf" srcId="{2396648C-2356-4879-93B9-868B1633E099}" destId="{47A92EF8-0821-4686-BF33-32E42AF054E8}" srcOrd="6" destOrd="0" presId="urn:microsoft.com/office/officeart/2011/layout/HexagonRadial"/>
    <dgm:cxn modelId="{72AA24A8-DBE2-40BF-BAED-06408D6FA7D2}" type="presParOf" srcId="{2396648C-2356-4879-93B9-868B1633E099}" destId="{C2723F32-2F7C-4920-82CE-D9755B03DC4F}" srcOrd="7" destOrd="0" presId="urn:microsoft.com/office/officeart/2011/layout/HexagonRadial"/>
    <dgm:cxn modelId="{A46CE36B-B593-4C86-9700-BEA94FFD6A7E}" type="presParOf" srcId="{C2723F32-2F7C-4920-82CE-D9755B03DC4F}" destId="{CA4FA584-D59F-4E42-9AC9-20EA9037F5E4}" srcOrd="0" destOrd="0" presId="urn:microsoft.com/office/officeart/2011/layout/HexagonRadial"/>
    <dgm:cxn modelId="{B0417358-888B-4B42-8F03-8F6DF21BDD9D}" type="presParOf" srcId="{2396648C-2356-4879-93B9-868B1633E099}" destId="{A2306791-AD59-4F1E-86E4-264DF306853A}" srcOrd="8" destOrd="0" presId="urn:microsoft.com/office/officeart/2011/layout/HexagonRadial"/>
    <dgm:cxn modelId="{C323B7E3-799B-422F-8A1B-20AA64ED4B2F}" type="presParOf" srcId="{2396648C-2356-4879-93B9-868B1633E099}" destId="{140D4FCC-E1A3-4EF2-9091-EE0CBB1898A4}" srcOrd="9" destOrd="0" presId="urn:microsoft.com/office/officeart/2011/layout/HexagonRadial"/>
    <dgm:cxn modelId="{03BDE018-C4C0-4B6B-8228-9A497AA84414}" type="presParOf" srcId="{140D4FCC-E1A3-4EF2-9091-EE0CBB1898A4}" destId="{3C490377-36B7-49B8-804F-F33DDEB03D3D}" srcOrd="0" destOrd="0" presId="urn:microsoft.com/office/officeart/2011/layout/HexagonRadial"/>
    <dgm:cxn modelId="{76D147D6-4C6D-448E-8BDA-06C43012AE34}" type="presParOf" srcId="{2396648C-2356-4879-93B9-868B1633E099}" destId="{A7535155-AEA2-446C-9AB5-ECE52B558BED}" srcOrd="10" destOrd="0" presId="urn:microsoft.com/office/officeart/2011/layout/HexagonRadial"/>
    <dgm:cxn modelId="{B806EAAA-F5F3-4D65-A2F1-18C5A60C2618}" type="presParOf" srcId="{2396648C-2356-4879-93B9-868B1633E099}" destId="{BBA0171A-1D01-48F6-927B-E98CEDF36C51}" srcOrd="11" destOrd="0" presId="urn:microsoft.com/office/officeart/2011/layout/HexagonRadial"/>
    <dgm:cxn modelId="{CFE5C3DF-4A41-4800-AFF1-AC71A59021EE}" type="presParOf" srcId="{BBA0171A-1D01-48F6-927B-E98CEDF36C51}" destId="{851CCD39-6205-428F-8D61-A00C0FB47947}" srcOrd="0" destOrd="0" presId="urn:microsoft.com/office/officeart/2011/layout/HexagonRadial"/>
    <dgm:cxn modelId="{5FA74AD2-E678-4310-82AE-B314A9E1CA31}" type="presParOf" srcId="{2396648C-2356-4879-93B9-868B1633E099}" destId="{D39CC2E8-C032-44BA-90D8-989F6976E989}"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10B9E4D-E556-4134-9B55-E591F280F8B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0819BE3A-309A-4B2B-B089-8CDE621C5D8E}">
      <dgm:prSet phldrT="[Text]" custT="1"/>
      <dgm:spPr/>
      <dgm:t>
        <a:bodyPr/>
        <a:lstStyle/>
        <a:p>
          <a:r>
            <a:rPr lang="en-US" sz="2800" b="0" i="0" dirty="0">
              <a:latin typeface="+mj-lt"/>
            </a:rPr>
            <a:t>Interest is paid by while you're enrolled at least half time in college.</a:t>
          </a:r>
          <a:endParaRPr lang="en-US" sz="2800" dirty="0">
            <a:latin typeface="+mj-lt"/>
          </a:endParaRPr>
        </a:p>
      </dgm:t>
    </dgm:pt>
    <dgm:pt modelId="{9FA42C2A-C26F-4730-BA49-A86EEE18202F}" type="parTrans" cxnId="{BC64AEEF-BF01-4254-B7F3-640F41D41BD8}">
      <dgm:prSet/>
      <dgm:spPr/>
      <dgm:t>
        <a:bodyPr/>
        <a:lstStyle/>
        <a:p>
          <a:endParaRPr lang="en-US"/>
        </a:p>
      </dgm:t>
    </dgm:pt>
    <dgm:pt modelId="{FC834FFE-B73F-40E9-B267-07E5792A3BCA}" type="sibTrans" cxnId="{BC64AEEF-BF01-4254-B7F3-640F41D41BD8}">
      <dgm:prSet/>
      <dgm:spPr/>
      <dgm:t>
        <a:bodyPr/>
        <a:lstStyle/>
        <a:p>
          <a:endParaRPr lang="en-US"/>
        </a:p>
      </dgm:t>
    </dgm:pt>
    <dgm:pt modelId="{8C479360-5B00-4CF1-AE35-A77392A3BD0C}">
      <dgm:prSet phldrT="[Text]" custT="1"/>
      <dgm:spPr/>
      <dgm:t>
        <a:bodyPr/>
        <a:lstStyle/>
        <a:p>
          <a:r>
            <a:rPr lang="en-US" sz="3000" b="1" i="0" dirty="0">
              <a:latin typeface="+mj-lt"/>
            </a:rPr>
            <a:t>Subsidized Student Loans</a:t>
          </a:r>
          <a:endParaRPr lang="en-US" sz="3000" dirty="0">
            <a:latin typeface="+mj-lt"/>
          </a:endParaRPr>
        </a:p>
      </dgm:t>
    </dgm:pt>
    <dgm:pt modelId="{D130A135-C5EC-470A-99CD-4B50DF0AA19C}" type="sibTrans" cxnId="{0FB31299-B1BD-4FB9-81D8-19B5A7B87B4E}">
      <dgm:prSet/>
      <dgm:spPr/>
      <dgm:t>
        <a:bodyPr/>
        <a:lstStyle/>
        <a:p>
          <a:endParaRPr lang="en-US"/>
        </a:p>
      </dgm:t>
    </dgm:pt>
    <dgm:pt modelId="{749C5CB5-5392-4B73-A267-10B9C821432A}" type="parTrans" cxnId="{0FB31299-B1BD-4FB9-81D8-19B5A7B87B4E}">
      <dgm:prSet/>
      <dgm:spPr/>
      <dgm:t>
        <a:bodyPr/>
        <a:lstStyle/>
        <a:p>
          <a:endParaRPr lang="en-US"/>
        </a:p>
      </dgm:t>
    </dgm:pt>
    <dgm:pt modelId="{37333EAF-EFC1-40F9-B91C-F269C7303DE0}">
      <dgm:prSet phldrT="[Text]" custT="1"/>
      <dgm:spPr/>
      <dgm:t>
        <a:bodyPr/>
        <a:lstStyle/>
        <a:p>
          <a:r>
            <a:rPr lang="en-US" sz="3000" b="1" i="0" dirty="0">
              <a:latin typeface="+mj-lt"/>
            </a:rPr>
            <a:t>Unsubsidized Student Loans</a:t>
          </a:r>
          <a:endParaRPr lang="en-US" sz="3000" dirty="0">
            <a:latin typeface="+mj-lt"/>
          </a:endParaRPr>
        </a:p>
      </dgm:t>
    </dgm:pt>
    <dgm:pt modelId="{99E93293-904F-4A29-901F-3885585F1DB6}" type="sibTrans" cxnId="{7716F50E-D3DF-4194-9F12-BA2553F11B85}">
      <dgm:prSet/>
      <dgm:spPr/>
      <dgm:t>
        <a:bodyPr/>
        <a:lstStyle/>
        <a:p>
          <a:endParaRPr lang="en-US"/>
        </a:p>
      </dgm:t>
    </dgm:pt>
    <dgm:pt modelId="{557FF104-33EF-4BD0-921D-85DE865AF43A}" type="parTrans" cxnId="{7716F50E-D3DF-4194-9F12-BA2553F11B85}">
      <dgm:prSet/>
      <dgm:spPr/>
      <dgm:t>
        <a:bodyPr/>
        <a:lstStyle/>
        <a:p>
          <a:endParaRPr lang="en-US"/>
        </a:p>
      </dgm:t>
    </dgm:pt>
    <dgm:pt modelId="{37AB2B20-3F12-4F26-B8C2-B3932E8FFD4E}">
      <dgm:prSet phldrT="[Text]" custT="1"/>
      <dgm:spPr/>
      <dgm:t>
        <a:bodyPr/>
        <a:lstStyle/>
        <a:p>
          <a:r>
            <a:rPr lang="en-US" sz="2800" b="0" i="0" dirty="0">
              <a:latin typeface="+mj-lt"/>
            </a:rPr>
            <a:t>Interest begins accruing as soon as the loan is disbursed, including while you are enrolled in school.</a:t>
          </a:r>
          <a:endParaRPr lang="en-US" sz="2800" b="0" dirty="0">
            <a:latin typeface="+mj-lt"/>
          </a:endParaRPr>
        </a:p>
      </dgm:t>
    </dgm:pt>
    <dgm:pt modelId="{D86F48C5-D6C9-4FB0-826E-DC94A12DCA03}" type="parTrans" cxnId="{A2581288-11E6-46D6-90FB-12A78AC6ADBD}">
      <dgm:prSet/>
      <dgm:spPr/>
      <dgm:t>
        <a:bodyPr/>
        <a:lstStyle/>
        <a:p>
          <a:endParaRPr lang="en-US"/>
        </a:p>
      </dgm:t>
    </dgm:pt>
    <dgm:pt modelId="{93F729C1-2693-4BE3-A109-2405D3CD173B}" type="sibTrans" cxnId="{A2581288-11E6-46D6-90FB-12A78AC6ADBD}">
      <dgm:prSet/>
      <dgm:spPr/>
      <dgm:t>
        <a:bodyPr/>
        <a:lstStyle/>
        <a:p>
          <a:endParaRPr lang="en-US"/>
        </a:p>
      </dgm:t>
    </dgm:pt>
    <dgm:pt modelId="{F329D9F5-2B53-4297-AE52-60F1BE34F87F}" type="pres">
      <dgm:prSet presAssocID="{710B9E4D-E556-4134-9B55-E591F280F8B6}" presName="linear" presStyleCnt="0">
        <dgm:presLayoutVars>
          <dgm:animLvl val="lvl"/>
          <dgm:resizeHandles val="exact"/>
        </dgm:presLayoutVars>
      </dgm:prSet>
      <dgm:spPr/>
    </dgm:pt>
    <dgm:pt modelId="{D9550EFE-7958-4EA8-A79B-4AA57AFEEB79}" type="pres">
      <dgm:prSet presAssocID="{37333EAF-EFC1-40F9-B91C-F269C7303DE0}" presName="parentText" presStyleLbl="node1" presStyleIdx="0" presStyleCnt="2">
        <dgm:presLayoutVars>
          <dgm:chMax val="0"/>
          <dgm:bulletEnabled val="1"/>
        </dgm:presLayoutVars>
      </dgm:prSet>
      <dgm:spPr/>
    </dgm:pt>
    <dgm:pt modelId="{54A67035-7B08-4D46-833A-6B8FAB3C195A}" type="pres">
      <dgm:prSet presAssocID="{37333EAF-EFC1-40F9-B91C-F269C7303DE0}" presName="childText" presStyleLbl="revTx" presStyleIdx="0" presStyleCnt="2">
        <dgm:presLayoutVars>
          <dgm:bulletEnabled val="1"/>
        </dgm:presLayoutVars>
      </dgm:prSet>
      <dgm:spPr/>
    </dgm:pt>
    <dgm:pt modelId="{D478C151-A290-4664-A73C-35101A3E79D8}" type="pres">
      <dgm:prSet presAssocID="{8C479360-5B00-4CF1-AE35-A77392A3BD0C}" presName="parentText" presStyleLbl="node1" presStyleIdx="1" presStyleCnt="2">
        <dgm:presLayoutVars>
          <dgm:chMax val="0"/>
          <dgm:bulletEnabled val="1"/>
        </dgm:presLayoutVars>
      </dgm:prSet>
      <dgm:spPr/>
    </dgm:pt>
    <dgm:pt modelId="{A01841C7-8E11-4FBD-A285-CA7FC40C9FCE}" type="pres">
      <dgm:prSet presAssocID="{8C479360-5B00-4CF1-AE35-A77392A3BD0C}" presName="childText" presStyleLbl="revTx" presStyleIdx="1" presStyleCnt="2">
        <dgm:presLayoutVars>
          <dgm:bulletEnabled val="1"/>
        </dgm:presLayoutVars>
      </dgm:prSet>
      <dgm:spPr/>
    </dgm:pt>
  </dgm:ptLst>
  <dgm:cxnLst>
    <dgm:cxn modelId="{7716F50E-D3DF-4194-9F12-BA2553F11B85}" srcId="{710B9E4D-E556-4134-9B55-E591F280F8B6}" destId="{37333EAF-EFC1-40F9-B91C-F269C7303DE0}" srcOrd="0" destOrd="0" parTransId="{557FF104-33EF-4BD0-921D-85DE865AF43A}" sibTransId="{99E93293-904F-4A29-901F-3885585F1DB6}"/>
    <dgm:cxn modelId="{63245D3C-248B-4717-98C8-746F58B0DB86}" type="presOf" srcId="{8C479360-5B00-4CF1-AE35-A77392A3BD0C}" destId="{D478C151-A290-4664-A73C-35101A3E79D8}" srcOrd="0" destOrd="0" presId="urn:microsoft.com/office/officeart/2005/8/layout/vList2"/>
    <dgm:cxn modelId="{FCA4BC49-5902-421F-87C7-418719E46BB6}" type="presOf" srcId="{710B9E4D-E556-4134-9B55-E591F280F8B6}" destId="{F329D9F5-2B53-4297-AE52-60F1BE34F87F}" srcOrd="0" destOrd="0" presId="urn:microsoft.com/office/officeart/2005/8/layout/vList2"/>
    <dgm:cxn modelId="{F8FABA80-8C93-4DF8-9322-78C699022CAA}" type="presOf" srcId="{37333EAF-EFC1-40F9-B91C-F269C7303DE0}" destId="{D9550EFE-7958-4EA8-A79B-4AA57AFEEB79}" srcOrd="0" destOrd="0" presId="urn:microsoft.com/office/officeart/2005/8/layout/vList2"/>
    <dgm:cxn modelId="{98B98F84-6C9C-4FC9-9698-11EDC9561A27}" type="presOf" srcId="{0819BE3A-309A-4B2B-B089-8CDE621C5D8E}" destId="{A01841C7-8E11-4FBD-A285-CA7FC40C9FCE}" srcOrd="0" destOrd="0" presId="urn:microsoft.com/office/officeart/2005/8/layout/vList2"/>
    <dgm:cxn modelId="{A2581288-11E6-46D6-90FB-12A78AC6ADBD}" srcId="{37333EAF-EFC1-40F9-B91C-F269C7303DE0}" destId="{37AB2B20-3F12-4F26-B8C2-B3932E8FFD4E}" srcOrd="0" destOrd="0" parTransId="{D86F48C5-D6C9-4FB0-826E-DC94A12DCA03}" sibTransId="{93F729C1-2693-4BE3-A109-2405D3CD173B}"/>
    <dgm:cxn modelId="{0FB31299-B1BD-4FB9-81D8-19B5A7B87B4E}" srcId="{710B9E4D-E556-4134-9B55-E591F280F8B6}" destId="{8C479360-5B00-4CF1-AE35-A77392A3BD0C}" srcOrd="1" destOrd="0" parTransId="{749C5CB5-5392-4B73-A267-10B9C821432A}" sibTransId="{D130A135-C5EC-470A-99CD-4B50DF0AA19C}"/>
    <dgm:cxn modelId="{DB96D8D7-91B2-46D3-A713-72F028F00C8C}" type="presOf" srcId="{37AB2B20-3F12-4F26-B8C2-B3932E8FFD4E}" destId="{54A67035-7B08-4D46-833A-6B8FAB3C195A}" srcOrd="0" destOrd="0" presId="urn:microsoft.com/office/officeart/2005/8/layout/vList2"/>
    <dgm:cxn modelId="{BC64AEEF-BF01-4254-B7F3-640F41D41BD8}" srcId="{8C479360-5B00-4CF1-AE35-A77392A3BD0C}" destId="{0819BE3A-309A-4B2B-B089-8CDE621C5D8E}" srcOrd="0" destOrd="0" parTransId="{9FA42C2A-C26F-4730-BA49-A86EEE18202F}" sibTransId="{FC834FFE-B73F-40E9-B267-07E5792A3BCA}"/>
    <dgm:cxn modelId="{74E8F032-EF08-4AFC-BEC2-62AFEA2D365C}" type="presParOf" srcId="{F329D9F5-2B53-4297-AE52-60F1BE34F87F}" destId="{D9550EFE-7958-4EA8-A79B-4AA57AFEEB79}" srcOrd="0" destOrd="0" presId="urn:microsoft.com/office/officeart/2005/8/layout/vList2"/>
    <dgm:cxn modelId="{E90C9181-57C8-4531-8F70-F866A1B5AA66}" type="presParOf" srcId="{F329D9F5-2B53-4297-AE52-60F1BE34F87F}" destId="{54A67035-7B08-4D46-833A-6B8FAB3C195A}" srcOrd="1" destOrd="0" presId="urn:microsoft.com/office/officeart/2005/8/layout/vList2"/>
    <dgm:cxn modelId="{B2A479F2-F5E8-4AD4-B735-752EBF9D99A5}" type="presParOf" srcId="{F329D9F5-2B53-4297-AE52-60F1BE34F87F}" destId="{D478C151-A290-4664-A73C-35101A3E79D8}" srcOrd="2" destOrd="0" presId="urn:microsoft.com/office/officeart/2005/8/layout/vList2"/>
    <dgm:cxn modelId="{174A7523-E43B-44CD-9E42-59D932B7681F}" type="presParOf" srcId="{F329D9F5-2B53-4297-AE52-60F1BE34F87F}" destId="{A01841C7-8E11-4FBD-A285-CA7FC40C9FCE}"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933017-B2B8-4057-BC11-ADAC1829B0D0}" type="doc">
      <dgm:prSet loTypeId="urn:microsoft.com/office/officeart/2005/8/layout/hierarchy3" loCatId="list" qsTypeId="urn:microsoft.com/office/officeart/2005/8/quickstyle/simple1" qsCatId="simple" csTypeId="urn:microsoft.com/office/officeart/2005/8/colors/colorful4" csCatId="colorful" phldr="1"/>
      <dgm:spPr/>
      <dgm:t>
        <a:bodyPr/>
        <a:lstStyle/>
        <a:p>
          <a:endParaRPr lang="en-US"/>
        </a:p>
      </dgm:t>
    </dgm:pt>
    <dgm:pt modelId="{90EE5C31-096B-4B86-BD59-842FCDB6963E}">
      <dgm:prSet phldrT="[Text]"/>
      <dgm:spPr/>
      <dgm:t>
        <a:bodyPr/>
        <a:lstStyle/>
        <a:p>
          <a:r>
            <a:rPr lang="en-US" dirty="0">
              <a:latin typeface="+mj-lt"/>
            </a:rPr>
            <a:t>Federal</a:t>
          </a:r>
        </a:p>
      </dgm:t>
    </dgm:pt>
    <dgm:pt modelId="{7BF5520B-2EDC-4ADB-9F8A-01883BDC8341}" type="parTrans" cxnId="{F4028957-DF0C-4D52-8447-C18352DF5A8F}">
      <dgm:prSet/>
      <dgm:spPr/>
      <dgm:t>
        <a:bodyPr/>
        <a:lstStyle/>
        <a:p>
          <a:endParaRPr lang="en-US"/>
        </a:p>
      </dgm:t>
    </dgm:pt>
    <dgm:pt modelId="{D7B69F65-48CE-4C62-8BC0-C15B6D0760FD}" type="sibTrans" cxnId="{F4028957-DF0C-4D52-8447-C18352DF5A8F}">
      <dgm:prSet/>
      <dgm:spPr/>
      <dgm:t>
        <a:bodyPr/>
        <a:lstStyle/>
        <a:p>
          <a:endParaRPr lang="en-US"/>
        </a:p>
      </dgm:t>
    </dgm:pt>
    <dgm:pt modelId="{8E5297AC-B64C-4D83-AE52-1B8B28E09D73}">
      <dgm:prSet phldrT="[Text]"/>
      <dgm:spPr/>
      <dgm:t>
        <a:bodyPr/>
        <a:lstStyle/>
        <a:p>
          <a:r>
            <a:rPr lang="en-US" dirty="0">
              <a:latin typeface="+mj-lt"/>
            </a:rPr>
            <a:t>State</a:t>
          </a:r>
        </a:p>
      </dgm:t>
    </dgm:pt>
    <dgm:pt modelId="{11161C22-1F9D-4A44-A869-C9658E0B29CC}" type="parTrans" cxnId="{54BCD3BA-CBAB-408F-BAD1-B278153C343B}">
      <dgm:prSet/>
      <dgm:spPr/>
      <dgm:t>
        <a:bodyPr/>
        <a:lstStyle/>
        <a:p>
          <a:endParaRPr lang="en-US"/>
        </a:p>
      </dgm:t>
    </dgm:pt>
    <dgm:pt modelId="{779E7DF4-873B-4359-9E78-C53FFDA9A93A}" type="sibTrans" cxnId="{54BCD3BA-CBAB-408F-BAD1-B278153C343B}">
      <dgm:prSet/>
      <dgm:spPr/>
      <dgm:t>
        <a:bodyPr/>
        <a:lstStyle/>
        <a:p>
          <a:endParaRPr lang="en-US"/>
        </a:p>
      </dgm:t>
    </dgm:pt>
    <dgm:pt modelId="{12A0940C-1483-486F-A21E-43C90258DD2F}">
      <dgm:prSet phldrT="[Text]"/>
      <dgm:spPr/>
      <dgm:t>
        <a:bodyPr/>
        <a:lstStyle/>
        <a:p>
          <a:r>
            <a:rPr lang="en-US" dirty="0">
              <a:latin typeface="+mj-lt"/>
            </a:rPr>
            <a:t>College</a:t>
          </a:r>
        </a:p>
      </dgm:t>
    </dgm:pt>
    <dgm:pt modelId="{0213DA5C-473D-4A4A-8D9E-36118C5E7E00}" type="parTrans" cxnId="{FF4CC7A3-B32D-4625-8C3D-82CF15C4B591}">
      <dgm:prSet/>
      <dgm:spPr/>
      <dgm:t>
        <a:bodyPr/>
        <a:lstStyle/>
        <a:p>
          <a:endParaRPr lang="en-US"/>
        </a:p>
      </dgm:t>
    </dgm:pt>
    <dgm:pt modelId="{AD4D4A37-FF48-4BB8-A5C7-781CD8F01334}" type="sibTrans" cxnId="{FF4CC7A3-B32D-4625-8C3D-82CF15C4B591}">
      <dgm:prSet/>
      <dgm:spPr/>
      <dgm:t>
        <a:bodyPr/>
        <a:lstStyle/>
        <a:p>
          <a:endParaRPr lang="en-US"/>
        </a:p>
      </dgm:t>
    </dgm:pt>
    <dgm:pt modelId="{73A38630-B75F-4A17-9F22-F5BC8D1FCC6F}">
      <dgm:prSet phldrT="[Text]"/>
      <dgm:spPr/>
      <dgm:t>
        <a:bodyPr/>
        <a:lstStyle/>
        <a:p>
          <a:r>
            <a:rPr lang="en-US" dirty="0">
              <a:latin typeface="+mj-lt"/>
            </a:rPr>
            <a:t>Organizations</a:t>
          </a:r>
        </a:p>
      </dgm:t>
    </dgm:pt>
    <dgm:pt modelId="{0A0D9C3D-7D4A-4723-8C26-3120605C1BA6}" type="parTrans" cxnId="{E0FD1187-C511-4AAE-99D6-A415DF5AE4C8}">
      <dgm:prSet/>
      <dgm:spPr/>
      <dgm:t>
        <a:bodyPr/>
        <a:lstStyle/>
        <a:p>
          <a:endParaRPr lang="en-US"/>
        </a:p>
      </dgm:t>
    </dgm:pt>
    <dgm:pt modelId="{1F8EAC47-10BB-4EC1-B1EC-6689416FC44A}" type="sibTrans" cxnId="{E0FD1187-C511-4AAE-99D6-A415DF5AE4C8}">
      <dgm:prSet/>
      <dgm:spPr/>
      <dgm:t>
        <a:bodyPr/>
        <a:lstStyle/>
        <a:p>
          <a:endParaRPr lang="en-US"/>
        </a:p>
      </dgm:t>
    </dgm:pt>
    <dgm:pt modelId="{16280DF5-1D3F-4B07-8B73-197128146378}">
      <dgm:prSet phldrT="[Text]" custT="1"/>
      <dgm:spPr/>
      <dgm:t>
        <a:bodyPr/>
        <a:lstStyle/>
        <a:p>
          <a:pPr algn="l"/>
          <a:r>
            <a:rPr lang="en-US" sz="2400" dirty="0">
              <a:latin typeface="+mj-lt"/>
            </a:rPr>
            <a:t>Typically can be used at most schools in most states.</a:t>
          </a:r>
        </a:p>
      </dgm:t>
    </dgm:pt>
    <dgm:pt modelId="{576224BD-CF37-4140-8626-857231C94CE4}" type="parTrans" cxnId="{5197F252-4AF4-4195-92E6-A30A4B5ED413}">
      <dgm:prSet/>
      <dgm:spPr/>
      <dgm:t>
        <a:bodyPr/>
        <a:lstStyle/>
        <a:p>
          <a:endParaRPr lang="en-US">
            <a:latin typeface="+mj-lt"/>
          </a:endParaRPr>
        </a:p>
      </dgm:t>
    </dgm:pt>
    <dgm:pt modelId="{28F593D3-F45B-4D85-8307-2F9B9FDDBFA6}" type="sibTrans" cxnId="{5197F252-4AF4-4195-92E6-A30A4B5ED413}">
      <dgm:prSet/>
      <dgm:spPr/>
      <dgm:t>
        <a:bodyPr/>
        <a:lstStyle/>
        <a:p>
          <a:endParaRPr lang="en-US"/>
        </a:p>
      </dgm:t>
    </dgm:pt>
    <dgm:pt modelId="{BB51FF6F-350F-4C51-8DFE-176F415863CB}">
      <dgm:prSet phldrT="[Text]" custT="1"/>
      <dgm:spPr/>
      <dgm:t>
        <a:bodyPr/>
        <a:lstStyle/>
        <a:p>
          <a:pPr algn="l"/>
          <a:r>
            <a:rPr lang="en-US" sz="2400" dirty="0">
              <a:latin typeface="+mj-lt"/>
            </a:rPr>
            <a:t>Typically for residents to attend most colleges in the state.</a:t>
          </a:r>
          <a:endParaRPr lang="en-US" sz="1800" dirty="0">
            <a:latin typeface="+mj-lt"/>
          </a:endParaRPr>
        </a:p>
      </dgm:t>
    </dgm:pt>
    <dgm:pt modelId="{22BAF00A-6FE3-449C-A1CB-FC635858005D}" type="parTrans" cxnId="{664E889E-F6A8-4BB2-916A-5B3DB469A9F2}">
      <dgm:prSet/>
      <dgm:spPr/>
      <dgm:t>
        <a:bodyPr/>
        <a:lstStyle/>
        <a:p>
          <a:endParaRPr lang="en-US">
            <a:latin typeface="+mj-lt"/>
          </a:endParaRPr>
        </a:p>
      </dgm:t>
    </dgm:pt>
    <dgm:pt modelId="{FCCC54A1-5463-445B-B008-2596E241DC37}" type="sibTrans" cxnId="{664E889E-F6A8-4BB2-916A-5B3DB469A9F2}">
      <dgm:prSet/>
      <dgm:spPr/>
      <dgm:t>
        <a:bodyPr/>
        <a:lstStyle/>
        <a:p>
          <a:endParaRPr lang="en-US"/>
        </a:p>
      </dgm:t>
    </dgm:pt>
    <dgm:pt modelId="{D3923592-2EDB-4935-9F59-81EF8E83FCBF}">
      <dgm:prSet phldrT="[Text]" custT="1"/>
      <dgm:spPr/>
      <dgm:t>
        <a:bodyPr/>
        <a:lstStyle/>
        <a:p>
          <a:pPr algn="l"/>
          <a:r>
            <a:rPr lang="en-US" sz="2400" dirty="0">
              <a:latin typeface="+mj-lt"/>
            </a:rPr>
            <a:t>Offered by a specific school to attend that school.</a:t>
          </a:r>
        </a:p>
      </dgm:t>
    </dgm:pt>
    <dgm:pt modelId="{84E33378-229F-4E9F-A813-2BD79F769036}" type="parTrans" cxnId="{28E17EE9-E31D-4EA3-AAA4-4E23A6FCFB24}">
      <dgm:prSet/>
      <dgm:spPr/>
      <dgm:t>
        <a:bodyPr/>
        <a:lstStyle/>
        <a:p>
          <a:endParaRPr lang="en-US">
            <a:latin typeface="+mj-lt"/>
          </a:endParaRPr>
        </a:p>
      </dgm:t>
    </dgm:pt>
    <dgm:pt modelId="{68602D0D-1747-42DF-B170-CCD7F41A347A}" type="sibTrans" cxnId="{28E17EE9-E31D-4EA3-AAA4-4E23A6FCFB24}">
      <dgm:prSet/>
      <dgm:spPr/>
      <dgm:t>
        <a:bodyPr/>
        <a:lstStyle/>
        <a:p>
          <a:endParaRPr lang="en-US"/>
        </a:p>
      </dgm:t>
    </dgm:pt>
    <dgm:pt modelId="{9C7CC5E2-A2E5-4EC1-AFEC-3CE9DD83CE54}">
      <dgm:prSet phldrT="[Text]" custT="1"/>
      <dgm:spPr/>
      <dgm:t>
        <a:bodyPr/>
        <a:lstStyle/>
        <a:p>
          <a:pPr algn="l"/>
          <a:r>
            <a:rPr lang="en-US" sz="2400" dirty="0">
              <a:latin typeface="+mj-lt"/>
            </a:rPr>
            <a:t>Offered by non-profits, business, churches, etc.</a:t>
          </a:r>
        </a:p>
      </dgm:t>
    </dgm:pt>
    <dgm:pt modelId="{8EA6CB68-BDE9-4FC3-B8B5-CA17BFF65963}" type="parTrans" cxnId="{A7CD240D-430F-4C12-90F3-9C23EC0FE8DD}">
      <dgm:prSet/>
      <dgm:spPr/>
      <dgm:t>
        <a:bodyPr/>
        <a:lstStyle/>
        <a:p>
          <a:endParaRPr lang="en-US">
            <a:latin typeface="+mj-lt"/>
          </a:endParaRPr>
        </a:p>
      </dgm:t>
    </dgm:pt>
    <dgm:pt modelId="{DFEFC90F-09E0-4A8A-88E6-D649CDDAD4E1}" type="sibTrans" cxnId="{A7CD240D-430F-4C12-90F3-9C23EC0FE8DD}">
      <dgm:prSet/>
      <dgm:spPr/>
      <dgm:t>
        <a:bodyPr/>
        <a:lstStyle/>
        <a:p>
          <a:endParaRPr lang="en-US"/>
        </a:p>
      </dgm:t>
    </dgm:pt>
    <dgm:pt modelId="{A7C13485-932B-433A-8547-6B08E417A4C2}" type="pres">
      <dgm:prSet presAssocID="{FA933017-B2B8-4057-BC11-ADAC1829B0D0}" presName="diagram" presStyleCnt="0">
        <dgm:presLayoutVars>
          <dgm:chPref val="1"/>
          <dgm:dir/>
          <dgm:animOne val="branch"/>
          <dgm:animLvl val="lvl"/>
          <dgm:resizeHandles/>
        </dgm:presLayoutVars>
      </dgm:prSet>
      <dgm:spPr/>
    </dgm:pt>
    <dgm:pt modelId="{D6606139-E690-4751-9C3E-DDEBC640C7FB}" type="pres">
      <dgm:prSet presAssocID="{90EE5C31-096B-4B86-BD59-842FCDB6963E}" presName="root" presStyleCnt="0"/>
      <dgm:spPr/>
    </dgm:pt>
    <dgm:pt modelId="{C2407BB2-B554-4BF3-A4C0-8507AED4E6AF}" type="pres">
      <dgm:prSet presAssocID="{90EE5C31-096B-4B86-BD59-842FCDB6963E}" presName="rootComposite" presStyleCnt="0"/>
      <dgm:spPr/>
    </dgm:pt>
    <dgm:pt modelId="{F1710AE1-69D9-42C2-9773-05B1C35383B0}" type="pres">
      <dgm:prSet presAssocID="{90EE5C31-096B-4B86-BD59-842FCDB6963E}" presName="rootText" presStyleLbl="node1" presStyleIdx="0" presStyleCnt="4" custScaleX="126514"/>
      <dgm:spPr/>
    </dgm:pt>
    <dgm:pt modelId="{24E3BD91-DF1E-4C38-BF69-CB6774105DB0}" type="pres">
      <dgm:prSet presAssocID="{90EE5C31-096B-4B86-BD59-842FCDB6963E}" presName="rootConnector" presStyleLbl="node1" presStyleIdx="0" presStyleCnt="4"/>
      <dgm:spPr/>
    </dgm:pt>
    <dgm:pt modelId="{19AECE6D-B67C-4F5E-BAB9-B96F85D66CE1}" type="pres">
      <dgm:prSet presAssocID="{90EE5C31-096B-4B86-BD59-842FCDB6963E}" presName="childShape" presStyleCnt="0"/>
      <dgm:spPr/>
    </dgm:pt>
    <dgm:pt modelId="{7F2C5509-B3AB-4E34-9F41-E3D68B8AFF02}" type="pres">
      <dgm:prSet presAssocID="{576224BD-CF37-4140-8626-857231C94CE4}" presName="Name13" presStyleLbl="parChTrans1D2" presStyleIdx="0" presStyleCnt="4"/>
      <dgm:spPr/>
    </dgm:pt>
    <dgm:pt modelId="{C3E682CF-BBF2-40DE-ABA7-000F35119828}" type="pres">
      <dgm:prSet presAssocID="{16280DF5-1D3F-4B07-8B73-197128146378}" presName="childText" presStyleLbl="bgAcc1" presStyleIdx="0" presStyleCnt="4" custScaleX="159485" custScaleY="219099">
        <dgm:presLayoutVars>
          <dgm:bulletEnabled val="1"/>
        </dgm:presLayoutVars>
      </dgm:prSet>
      <dgm:spPr/>
    </dgm:pt>
    <dgm:pt modelId="{11C3C30E-E4F4-40BE-B58A-F5EC1A92E1B8}" type="pres">
      <dgm:prSet presAssocID="{8E5297AC-B64C-4D83-AE52-1B8B28E09D73}" presName="root" presStyleCnt="0"/>
      <dgm:spPr/>
    </dgm:pt>
    <dgm:pt modelId="{465889BD-7FB6-4D1B-B9F0-EE10779968E0}" type="pres">
      <dgm:prSet presAssocID="{8E5297AC-B64C-4D83-AE52-1B8B28E09D73}" presName="rootComposite" presStyleCnt="0"/>
      <dgm:spPr/>
    </dgm:pt>
    <dgm:pt modelId="{6AD835E1-9AE2-4D4C-8A3D-F7C66F8A7F11}" type="pres">
      <dgm:prSet presAssocID="{8E5297AC-B64C-4D83-AE52-1B8B28E09D73}" presName="rootText" presStyleLbl="node1" presStyleIdx="1" presStyleCnt="4" custScaleX="126514"/>
      <dgm:spPr/>
    </dgm:pt>
    <dgm:pt modelId="{AF05E323-1189-483B-B369-F0D81E1FE82A}" type="pres">
      <dgm:prSet presAssocID="{8E5297AC-B64C-4D83-AE52-1B8B28E09D73}" presName="rootConnector" presStyleLbl="node1" presStyleIdx="1" presStyleCnt="4"/>
      <dgm:spPr/>
    </dgm:pt>
    <dgm:pt modelId="{8DD957AF-3629-452B-85D4-2F7516BE8C7F}" type="pres">
      <dgm:prSet presAssocID="{8E5297AC-B64C-4D83-AE52-1B8B28E09D73}" presName="childShape" presStyleCnt="0"/>
      <dgm:spPr/>
    </dgm:pt>
    <dgm:pt modelId="{63D3099D-C34B-41C6-8067-A56413AD8DA6}" type="pres">
      <dgm:prSet presAssocID="{22BAF00A-6FE3-449C-A1CB-FC635858005D}" presName="Name13" presStyleLbl="parChTrans1D2" presStyleIdx="1" presStyleCnt="4"/>
      <dgm:spPr/>
    </dgm:pt>
    <dgm:pt modelId="{56232898-B55B-40CD-A813-44794CD31F96}" type="pres">
      <dgm:prSet presAssocID="{BB51FF6F-350F-4C51-8DFE-176F415863CB}" presName="childText" presStyleLbl="bgAcc1" presStyleIdx="1" presStyleCnt="4" custScaleX="159485" custScaleY="220124">
        <dgm:presLayoutVars>
          <dgm:bulletEnabled val="1"/>
        </dgm:presLayoutVars>
      </dgm:prSet>
      <dgm:spPr/>
    </dgm:pt>
    <dgm:pt modelId="{E7EF0EBB-5C96-4AF5-8563-D319BCBFBA0C}" type="pres">
      <dgm:prSet presAssocID="{12A0940C-1483-486F-A21E-43C90258DD2F}" presName="root" presStyleCnt="0"/>
      <dgm:spPr/>
    </dgm:pt>
    <dgm:pt modelId="{59134D36-10F1-4A87-9A74-63621E86961E}" type="pres">
      <dgm:prSet presAssocID="{12A0940C-1483-486F-A21E-43C90258DD2F}" presName="rootComposite" presStyleCnt="0"/>
      <dgm:spPr/>
    </dgm:pt>
    <dgm:pt modelId="{23313EEC-3C0E-4986-8BF5-3ED6E774324B}" type="pres">
      <dgm:prSet presAssocID="{12A0940C-1483-486F-A21E-43C90258DD2F}" presName="rootText" presStyleLbl="node1" presStyleIdx="2" presStyleCnt="4" custScaleX="126514"/>
      <dgm:spPr/>
    </dgm:pt>
    <dgm:pt modelId="{33AEA63A-88B5-4D56-B985-A49D569303B9}" type="pres">
      <dgm:prSet presAssocID="{12A0940C-1483-486F-A21E-43C90258DD2F}" presName="rootConnector" presStyleLbl="node1" presStyleIdx="2" presStyleCnt="4"/>
      <dgm:spPr/>
    </dgm:pt>
    <dgm:pt modelId="{7BFD86A1-22D8-4C7A-9EF3-398EBE9E1BEB}" type="pres">
      <dgm:prSet presAssocID="{12A0940C-1483-486F-A21E-43C90258DD2F}" presName="childShape" presStyleCnt="0"/>
      <dgm:spPr/>
    </dgm:pt>
    <dgm:pt modelId="{16526CF6-477B-4541-B13B-3DAF1D17912F}" type="pres">
      <dgm:prSet presAssocID="{84E33378-229F-4E9F-A813-2BD79F769036}" presName="Name13" presStyleLbl="parChTrans1D2" presStyleIdx="2" presStyleCnt="4"/>
      <dgm:spPr/>
    </dgm:pt>
    <dgm:pt modelId="{8619FF26-7A0B-4F20-B855-5BC1489202DD}" type="pres">
      <dgm:prSet presAssocID="{D3923592-2EDB-4935-9F59-81EF8E83FCBF}" presName="childText" presStyleLbl="bgAcc1" presStyleIdx="2" presStyleCnt="4" custScaleX="159485" custScaleY="219099">
        <dgm:presLayoutVars>
          <dgm:bulletEnabled val="1"/>
        </dgm:presLayoutVars>
      </dgm:prSet>
      <dgm:spPr/>
    </dgm:pt>
    <dgm:pt modelId="{2B2739B6-6F2A-438D-99F1-0765CEE2A2B2}" type="pres">
      <dgm:prSet presAssocID="{73A38630-B75F-4A17-9F22-F5BC8D1FCC6F}" presName="root" presStyleCnt="0"/>
      <dgm:spPr/>
    </dgm:pt>
    <dgm:pt modelId="{6B1D50DD-22B4-433D-A324-A5F684959876}" type="pres">
      <dgm:prSet presAssocID="{73A38630-B75F-4A17-9F22-F5BC8D1FCC6F}" presName="rootComposite" presStyleCnt="0"/>
      <dgm:spPr/>
    </dgm:pt>
    <dgm:pt modelId="{29E0B27F-91C2-44E2-BAE1-9233A0399307}" type="pres">
      <dgm:prSet presAssocID="{73A38630-B75F-4A17-9F22-F5BC8D1FCC6F}" presName="rootText" presStyleLbl="node1" presStyleIdx="3" presStyleCnt="4" custScaleX="126514"/>
      <dgm:spPr/>
    </dgm:pt>
    <dgm:pt modelId="{EC2F4941-3760-4F7C-87B9-36CA660529EC}" type="pres">
      <dgm:prSet presAssocID="{73A38630-B75F-4A17-9F22-F5BC8D1FCC6F}" presName="rootConnector" presStyleLbl="node1" presStyleIdx="3" presStyleCnt="4"/>
      <dgm:spPr/>
    </dgm:pt>
    <dgm:pt modelId="{F34FD74A-C74C-4395-AA97-497B8D3D29FC}" type="pres">
      <dgm:prSet presAssocID="{73A38630-B75F-4A17-9F22-F5BC8D1FCC6F}" presName="childShape" presStyleCnt="0"/>
      <dgm:spPr/>
    </dgm:pt>
    <dgm:pt modelId="{AAF5AE57-3B47-4FEA-84EE-204B5956864B}" type="pres">
      <dgm:prSet presAssocID="{8EA6CB68-BDE9-4FC3-B8B5-CA17BFF65963}" presName="Name13" presStyleLbl="parChTrans1D2" presStyleIdx="3" presStyleCnt="4"/>
      <dgm:spPr/>
    </dgm:pt>
    <dgm:pt modelId="{9B7D80F9-C166-44E5-86FB-FB4EA25359C3}" type="pres">
      <dgm:prSet presAssocID="{9C7CC5E2-A2E5-4EC1-AFEC-3CE9DD83CE54}" presName="childText" presStyleLbl="bgAcc1" presStyleIdx="3" presStyleCnt="4" custScaleX="159485" custScaleY="219099">
        <dgm:presLayoutVars>
          <dgm:bulletEnabled val="1"/>
        </dgm:presLayoutVars>
      </dgm:prSet>
      <dgm:spPr/>
    </dgm:pt>
  </dgm:ptLst>
  <dgm:cxnLst>
    <dgm:cxn modelId="{A7CD240D-430F-4C12-90F3-9C23EC0FE8DD}" srcId="{73A38630-B75F-4A17-9F22-F5BC8D1FCC6F}" destId="{9C7CC5E2-A2E5-4EC1-AFEC-3CE9DD83CE54}" srcOrd="0" destOrd="0" parTransId="{8EA6CB68-BDE9-4FC3-B8B5-CA17BFF65963}" sibTransId="{DFEFC90F-09E0-4A8A-88E6-D649CDDAD4E1}"/>
    <dgm:cxn modelId="{7D1F5F1A-E6D8-4BFA-8F03-B96D050A9AA7}" type="presOf" srcId="{9C7CC5E2-A2E5-4EC1-AFEC-3CE9DD83CE54}" destId="{9B7D80F9-C166-44E5-86FB-FB4EA25359C3}" srcOrd="0" destOrd="0" presId="urn:microsoft.com/office/officeart/2005/8/layout/hierarchy3"/>
    <dgm:cxn modelId="{1574072A-0A38-488B-9841-D5F000DBA8A5}" type="presOf" srcId="{12A0940C-1483-486F-A21E-43C90258DD2F}" destId="{23313EEC-3C0E-4986-8BF5-3ED6E774324B}" srcOrd="0" destOrd="0" presId="urn:microsoft.com/office/officeart/2005/8/layout/hierarchy3"/>
    <dgm:cxn modelId="{1F6B302B-EBE7-41FE-B301-A19E53B17934}" type="presOf" srcId="{73A38630-B75F-4A17-9F22-F5BC8D1FCC6F}" destId="{29E0B27F-91C2-44E2-BAE1-9233A0399307}" srcOrd="0" destOrd="0" presId="urn:microsoft.com/office/officeart/2005/8/layout/hierarchy3"/>
    <dgm:cxn modelId="{B1266B2C-EA50-47F2-9A1B-7D6C49BE833D}" type="presOf" srcId="{8E5297AC-B64C-4D83-AE52-1B8B28E09D73}" destId="{AF05E323-1189-483B-B369-F0D81E1FE82A}" srcOrd="1" destOrd="0" presId="urn:microsoft.com/office/officeart/2005/8/layout/hierarchy3"/>
    <dgm:cxn modelId="{FF9D3D5F-DD7D-4122-905D-5980A6C23450}" type="presOf" srcId="{90EE5C31-096B-4B86-BD59-842FCDB6963E}" destId="{24E3BD91-DF1E-4C38-BF69-CB6774105DB0}" srcOrd="1" destOrd="0" presId="urn:microsoft.com/office/officeart/2005/8/layout/hierarchy3"/>
    <dgm:cxn modelId="{5197F252-4AF4-4195-92E6-A30A4B5ED413}" srcId="{90EE5C31-096B-4B86-BD59-842FCDB6963E}" destId="{16280DF5-1D3F-4B07-8B73-197128146378}" srcOrd="0" destOrd="0" parTransId="{576224BD-CF37-4140-8626-857231C94CE4}" sibTransId="{28F593D3-F45B-4D85-8307-2F9B9FDDBFA6}"/>
    <dgm:cxn modelId="{0A07F254-B7E5-42AD-9117-3D1A4E85712E}" type="presOf" srcId="{73A38630-B75F-4A17-9F22-F5BC8D1FCC6F}" destId="{EC2F4941-3760-4F7C-87B9-36CA660529EC}" srcOrd="1" destOrd="0" presId="urn:microsoft.com/office/officeart/2005/8/layout/hierarchy3"/>
    <dgm:cxn modelId="{F4028957-DF0C-4D52-8447-C18352DF5A8F}" srcId="{FA933017-B2B8-4057-BC11-ADAC1829B0D0}" destId="{90EE5C31-096B-4B86-BD59-842FCDB6963E}" srcOrd="0" destOrd="0" parTransId="{7BF5520B-2EDC-4ADB-9F8A-01883BDC8341}" sibTransId="{D7B69F65-48CE-4C62-8BC0-C15B6D0760FD}"/>
    <dgm:cxn modelId="{C4AFF97D-FF21-46D4-95C7-56551B5A808E}" type="presOf" srcId="{90EE5C31-096B-4B86-BD59-842FCDB6963E}" destId="{F1710AE1-69D9-42C2-9773-05B1C35383B0}" srcOrd="0" destOrd="0" presId="urn:microsoft.com/office/officeart/2005/8/layout/hierarchy3"/>
    <dgm:cxn modelId="{43D25C7F-CB6E-47AC-B1EF-312D75C0A57C}" type="presOf" srcId="{576224BD-CF37-4140-8626-857231C94CE4}" destId="{7F2C5509-B3AB-4E34-9F41-E3D68B8AFF02}" srcOrd="0" destOrd="0" presId="urn:microsoft.com/office/officeart/2005/8/layout/hierarchy3"/>
    <dgm:cxn modelId="{E0FD1187-C511-4AAE-99D6-A415DF5AE4C8}" srcId="{FA933017-B2B8-4057-BC11-ADAC1829B0D0}" destId="{73A38630-B75F-4A17-9F22-F5BC8D1FCC6F}" srcOrd="3" destOrd="0" parTransId="{0A0D9C3D-7D4A-4723-8C26-3120605C1BA6}" sibTransId="{1F8EAC47-10BB-4EC1-B1EC-6689416FC44A}"/>
    <dgm:cxn modelId="{46AA4287-0284-4BEA-8811-0860C3EC0E41}" type="presOf" srcId="{BB51FF6F-350F-4C51-8DFE-176F415863CB}" destId="{56232898-B55B-40CD-A813-44794CD31F96}" srcOrd="0" destOrd="0" presId="urn:microsoft.com/office/officeart/2005/8/layout/hierarchy3"/>
    <dgm:cxn modelId="{08DFAF87-2B44-43DD-A912-D31460810B2A}" type="presOf" srcId="{22BAF00A-6FE3-449C-A1CB-FC635858005D}" destId="{63D3099D-C34B-41C6-8067-A56413AD8DA6}" srcOrd="0" destOrd="0" presId="urn:microsoft.com/office/officeart/2005/8/layout/hierarchy3"/>
    <dgm:cxn modelId="{E56C2391-B52D-4EB4-BB8C-02CD3CB3B00A}" type="presOf" srcId="{D3923592-2EDB-4935-9F59-81EF8E83FCBF}" destId="{8619FF26-7A0B-4F20-B855-5BC1489202DD}" srcOrd="0" destOrd="0" presId="urn:microsoft.com/office/officeart/2005/8/layout/hierarchy3"/>
    <dgm:cxn modelId="{664E889E-F6A8-4BB2-916A-5B3DB469A9F2}" srcId="{8E5297AC-B64C-4D83-AE52-1B8B28E09D73}" destId="{BB51FF6F-350F-4C51-8DFE-176F415863CB}" srcOrd="0" destOrd="0" parTransId="{22BAF00A-6FE3-449C-A1CB-FC635858005D}" sibTransId="{FCCC54A1-5463-445B-B008-2596E241DC37}"/>
    <dgm:cxn modelId="{FF4CC7A3-B32D-4625-8C3D-82CF15C4B591}" srcId="{FA933017-B2B8-4057-BC11-ADAC1829B0D0}" destId="{12A0940C-1483-486F-A21E-43C90258DD2F}" srcOrd="2" destOrd="0" parTransId="{0213DA5C-473D-4A4A-8D9E-36118C5E7E00}" sibTransId="{AD4D4A37-FF48-4BB8-A5C7-781CD8F01334}"/>
    <dgm:cxn modelId="{2FC8E2B8-098C-4C2A-8ECC-1BE3875F9D2C}" type="presOf" srcId="{12A0940C-1483-486F-A21E-43C90258DD2F}" destId="{33AEA63A-88B5-4D56-B985-A49D569303B9}" srcOrd="1" destOrd="0" presId="urn:microsoft.com/office/officeart/2005/8/layout/hierarchy3"/>
    <dgm:cxn modelId="{54BCD3BA-CBAB-408F-BAD1-B278153C343B}" srcId="{FA933017-B2B8-4057-BC11-ADAC1829B0D0}" destId="{8E5297AC-B64C-4D83-AE52-1B8B28E09D73}" srcOrd="1" destOrd="0" parTransId="{11161C22-1F9D-4A44-A869-C9658E0B29CC}" sibTransId="{779E7DF4-873B-4359-9E78-C53FFDA9A93A}"/>
    <dgm:cxn modelId="{1380DABB-A7B4-4552-B4C6-9991CCC5BF19}" type="presOf" srcId="{8EA6CB68-BDE9-4FC3-B8B5-CA17BFF65963}" destId="{AAF5AE57-3B47-4FEA-84EE-204B5956864B}" srcOrd="0" destOrd="0" presId="urn:microsoft.com/office/officeart/2005/8/layout/hierarchy3"/>
    <dgm:cxn modelId="{99A5ACC6-D6F9-4B06-9938-3DE18C844494}" type="presOf" srcId="{16280DF5-1D3F-4B07-8B73-197128146378}" destId="{C3E682CF-BBF2-40DE-ABA7-000F35119828}" srcOrd="0" destOrd="0" presId="urn:microsoft.com/office/officeart/2005/8/layout/hierarchy3"/>
    <dgm:cxn modelId="{DC0ABEDB-1786-467C-8AB5-ACAB40C8F037}" type="presOf" srcId="{FA933017-B2B8-4057-BC11-ADAC1829B0D0}" destId="{A7C13485-932B-433A-8547-6B08E417A4C2}" srcOrd="0" destOrd="0" presId="urn:microsoft.com/office/officeart/2005/8/layout/hierarchy3"/>
    <dgm:cxn modelId="{28E17EE9-E31D-4EA3-AAA4-4E23A6FCFB24}" srcId="{12A0940C-1483-486F-A21E-43C90258DD2F}" destId="{D3923592-2EDB-4935-9F59-81EF8E83FCBF}" srcOrd="0" destOrd="0" parTransId="{84E33378-229F-4E9F-A813-2BD79F769036}" sibTransId="{68602D0D-1747-42DF-B170-CCD7F41A347A}"/>
    <dgm:cxn modelId="{65FA43F0-F7BA-489F-B689-4A186C4E2E54}" type="presOf" srcId="{8E5297AC-B64C-4D83-AE52-1B8B28E09D73}" destId="{6AD835E1-9AE2-4D4C-8A3D-F7C66F8A7F11}" srcOrd="0" destOrd="0" presId="urn:microsoft.com/office/officeart/2005/8/layout/hierarchy3"/>
    <dgm:cxn modelId="{952DA8F6-FB3E-45D7-AD8F-81DBE458AB36}" type="presOf" srcId="{84E33378-229F-4E9F-A813-2BD79F769036}" destId="{16526CF6-477B-4541-B13B-3DAF1D17912F}" srcOrd="0" destOrd="0" presId="urn:microsoft.com/office/officeart/2005/8/layout/hierarchy3"/>
    <dgm:cxn modelId="{8AEA5175-7F5F-486C-A1F0-B7A78A1C016B}" type="presParOf" srcId="{A7C13485-932B-433A-8547-6B08E417A4C2}" destId="{D6606139-E690-4751-9C3E-DDEBC640C7FB}" srcOrd="0" destOrd="0" presId="urn:microsoft.com/office/officeart/2005/8/layout/hierarchy3"/>
    <dgm:cxn modelId="{69860862-1D94-4541-A6F8-1772FCB6F9EB}" type="presParOf" srcId="{D6606139-E690-4751-9C3E-DDEBC640C7FB}" destId="{C2407BB2-B554-4BF3-A4C0-8507AED4E6AF}" srcOrd="0" destOrd="0" presId="urn:microsoft.com/office/officeart/2005/8/layout/hierarchy3"/>
    <dgm:cxn modelId="{25F0E2F3-14E8-4A93-902A-EEE744FCA83C}" type="presParOf" srcId="{C2407BB2-B554-4BF3-A4C0-8507AED4E6AF}" destId="{F1710AE1-69D9-42C2-9773-05B1C35383B0}" srcOrd="0" destOrd="0" presId="urn:microsoft.com/office/officeart/2005/8/layout/hierarchy3"/>
    <dgm:cxn modelId="{BF4B059A-C1FB-47E9-B32C-475B6FDD68E2}" type="presParOf" srcId="{C2407BB2-B554-4BF3-A4C0-8507AED4E6AF}" destId="{24E3BD91-DF1E-4C38-BF69-CB6774105DB0}" srcOrd="1" destOrd="0" presId="urn:microsoft.com/office/officeart/2005/8/layout/hierarchy3"/>
    <dgm:cxn modelId="{3DC77CCE-7287-4CAC-8FEE-8C783E094DED}" type="presParOf" srcId="{D6606139-E690-4751-9C3E-DDEBC640C7FB}" destId="{19AECE6D-B67C-4F5E-BAB9-B96F85D66CE1}" srcOrd="1" destOrd="0" presId="urn:microsoft.com/office/officeart/2005/8/layout/hierarchy3"/>
    <dgm:cxn modelId="{53F7D865-F163-4373-B4D3-0198C554DECF}" type="presParOf" srcId="{19AECE6D-B67C-4F5E-BAB9-B96F85D66CE1}" destId="{7F2C5509-B3AB-4E34-9F41-E3D68B8AFF02}" srcOrd="0" destOrd="0" presId="urn:microsoft.com/office/officeart/2005/8/layout/hierarchy3"/>
    <dgm:cxn modelId="{ADF599E9-8AEB-435C-8A44-5A6BBD54ADA7}" type="presParOf" srcId="{19AECE6D-B67C-4F5E-BAB9-B96F85D66CE1}" destId="{C3E682CF-BBF2-40DE-ABA7-000F35119828}" srcOrd="1" destOrd="0" presId="urn:microsoft.com/office/officeart/2005/8/layout/hierarchy3"/>
    <dgm:cxn modelId="{557DB26B-1DF3-486D-8D53-43F5B0822F29}" type="presParOf" srcId="{A7C13485-932B-433A-8547-6B08E417A4C2}" destId="{11C3C30E-E4F4-40BE-B58A-F5EC1A92E1B8}" srcOrd="1" destOrd="0" presId="urn:microsoft.com/office/officeart/2005/8/layout/hierarchy3"/>
    <dgm:cxn modelId="{22D0CFE3-57E6-42FF-9263-69BFC5BEC8C4}" type="presParOf" srcId="{11C3C30E-E4F4-40BE-B58A-F5EC1A92E1B8}" destId="{465889BD-7FB6-4D1B-B9F0-EE10779968E0}" srcOrd="0" destOrd="0" presId="urn:microsoft.com/office/officeart/2005/8/layout/hierarchy3"/>
    <dgm:cxn modelId="{49849715-DADB-495D-9E1F-C03A506C9FB5}" type="presParOf" srcId="{465889BD-7FB6-4D1B-B9F0-EE10779968E0}" destId="{6AD835E1-9AE2-4D4C-8A3D-F7C66F8A7F11}" srcOrd="0" destOrd="0" presId="urn:microsoft.com/office/officeart/2005/8/layout/hierarchy3"/>
    <dgm:cxn modelId="{F3D48881-2D4C-4BDB-9D10-D6FF91E35F91}" type="presParOf" srcId="{465889BD-7FB6-4D1B-B9F0-EE10779968E0}" destId="{AF05E323-1189-483B-B369-F0D81E1FE82A}" srcOrd="1" destOrd="0" presId="urn:microsoft.com/office/officeart/2005/8/layout/hierarchy3"/>
    <dgm:cxn modelId="{03E4AB2D-CA97-41E6-B496-D33D6540ACCD}" type="presParOf" srcId="{11C3C30E-E4F4-40BE-B58A-F5EC1A92E1B8}" destId="{8DD957AF-3629-452B-85D4-2F7516BE8C7F}" srcOrd="1" destOrd="0" presId="urn:microsoft.com/office/officeart/2005/8/layout/hierarchy3"/>
    <dgm:cxn modelId="{DC392274-EE01-437C-9E20-8521F5E0289F}" type="presParOf" srcId="{8DD957AF-3629-452B-85D4-2F7516BE8C7F}" destId="{63D3099D-C34B-41C6-8067-A56413AD8DA6}" srcOrd="0" destOrd="0" presId="urn:microsoft.com/office/officeart/2005/8/layout/hierarchy3"/>
    <dgm:cxn modelId="{854E3C64-741E-47A4-A022-0FDCCAA9DB9D}" type="presParOf" srcId="{8DD957AF-3629-452B-85D4-2F7516BE8C7F}" destId="{56232898-B55B-40CD-A813-44794CD31F96}" srcOrd="1" destOrd="0" presId="urn:microsoft.com/office/officeart/2005/8/layout/hierarchy3"/>
    <dgm:cxn modelId="{64981A3A-AC20-45D2-9CA1-EC5B6B011B0E}" type="presParOf" srcId="{A7C13485-932B-433A-8547-6B08E417A4C2}" destId="{E7EF0EBB-5C96-4AF5-8563-D319BCBFBA0C}" srcOrd="2" destOrd="0" presId="urn:microsoft.com/office/officeart/2005/8/layout/hierarchy3"/>
    <dgm:cxn modelId="{86B79B03-04C9-42E2-BCF3-9628314B845B}" type="presParOf" srcId="{E7EF0EBB-5C96-4AF5-8563-D319BCBFBA0C}" destId="{59134D36-10F1-4A87-9A74-63621E86961E}" srcOrd="0" destOrd="0" presId="urn:microsoft.com/office/officeart/2005/8/layout/hierarchy3"/>
    <dgm:cxn modelId="{A1E879EF-BA46-4E79-9ACC-14D73867F230}" type="presParOf" srcId="{59134D36-10F1-4A87-9A74-63621E86961E}" destId="{23313EEC-3C0E-4986-8BF5-3ED6E774324B}" srcOrd="0" destOrd="0" presId="urn:microsoft.com/office/officeart/2005/8/layout/hierarchy3"/>
    <dgm:cxn modelId="{874BD6A5-F099-49B6-BDA7-E0E76EF51A8B}" type="presParOf" srcId="{59134D36-10F1-4A87-9A74-63621E86961E}" destId="{33AEA63A-88B5-4D56-B985-A49D569303B9}" srcOrd="1" destOrd="0" presId="urn:microsoft.com/office/officeart/2005/8/layout/hierarchy3"/>
    <dgm:cxn modelId="{A7A6E163-69B7-4DFE-A07C-4210BF682A89}" type="presParOf" srcId="{E7EF0EBB-5C96-4AF5-8563-D319BCBFBA0C}" destId="{7BFD86A1-22D8-4C7A-9EF3-398EBE9E1BEB}" srcOrd="1" destOrd="0" presId="urn:microsoft.com/office/officeart/2005/8/layout/hierarchy3"/>
    <dgm:cxn modelId="{11ADBAA3-374E-4B12-A789-BEBC5ABD1EE1}" type="presParOf" srcId="{7BFD86A1-22D8-4C7A-9EF3-398EBE9E1BEB}" destId="{16526CF6-477B-4541-B13B-3DAF1D17912F}" srcOrd="0" destOrd="0" presId="urn:microsoft.com/office/officeart/2005/8/layout/hierarchy3"/>
    <dgm:cxn modelId="{0DE9D3F6-6D6F-4E62-9063-5688D4F892E5}" type="presParOf" srcId="{7BFD86A1-22D8-4C7A-9EF3-398EBE9E1BEB}" destId="{8619FF26-7A0B-4F20-B855-5BC1489202DD}" srcOrd="1" destOrd="0" presId="urn:microsoft.com/office/officeart/2005/8/layout/hierarchy3"/>
    <dgm:cxn modelId="{8D332BE1-18EE-4E78-9093-A8AEAA54F42B}" type="presParOf" srcId="{A7C13485-932B-433A-8547-6B08E417A4C2}" destId="{2B2739B6-6F2A-438D-99F1-0765CEE2A2B2}" srcOrd="3" destOrd="0" presId="urn:microsoft.com/office/officeart/2005/8/layout/hierarchy3"/>
    <dgm:cxn modelId="{F7422314-6A1C-4CD2-B4F4-DFDE6274FBB7}" type="presParOf" srcId="{2B2739B6-6F2A-438D-99F1-0765CEE2A2B2}" destId="{6B1D50DD-22B4-433D-A324-A5F684959876}" srcOrd="0" destOrd="0" presId="urn:microsoft.com/office/officeart/2005/8/layout/hierarchy3"/>
    <dgm:cxn modelId="{5BF3D569-A53A-4F49-A279-A9EFFAC8B71E}" type="presParOf" srcId="{6B1D50DD-22B4-433D-A324-A5F684959876}" destId="{29E0B27F-91C2-44E2-BAE1-9233A0399307}" srcOrd="0" destOrd="0" presId="urn:microsoft.com/office/officeart/2005/8/layout/hierarchy3"/>
    <dgm:cxn modelId="{E93A7822-AE70-48F7-8297-BFB20F30C1A0}" type="presParOf" srcId="{6B1D50DD-22B4-433D-A324-A5F684959876}" destId="{EC2F4941-3760-4F7C-87B9-36CA660529EC}" srcOrd="1" destOrd="0" presId="urn:microsoft.com/office/officeart/2005/8/layout/hierarchy3"/>
    <dgm:cxn modelId="{3427C15F-0BDC-4C53-9CC9-2FBC324CBAFA}" type="presParOf" srcId="{2B2739B6-6F2A-438D-99F1-0765CEE2A2B2}" destId="{F34FD74A-C74C-4395-AA97-497B8D3D29FC}" srcOrd="1" destOrd="0" presId="urn:microsoft.com/office/officeart/2005/8/layout/hierarchy3"/>
    <dgm:cxn modelId="{1720B5AC-80FD-443C-BBB8-79FE2436183B}" type="presParOf" srcId="{F34FD74A-C74C-4395-AA97-497B8D3D29FC}" destId="{AAF5AE57-3B47-4FEA-84EE-204B5956864B}" srcOrd="0" destOrd="0" presId="urn:microsoft.com/office/officeart/2005/8/layout/hierarchy3"/>
    <dgm:cxn modelId="{E9711F8F-CEEA-4D9E-A207-9D11F9E1C67E}" type="presParOf" srcId="{F34FD74A-C74C-4395-AA97-497B8D3D29FC}" destId="{9B7D80F9-C166-44E5-86FB-FB4EA25359C3}"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75F85C4-48CF-4C01-BDE6-439509E69B69}"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2ADB4F8E-634A-4577-8846-11B28C6D8967}">
      <dgm:prSet custT="1"/>
      <dgm:spPr/>
      <dgm:t>
        <a:bodyPr/>
        <a:lstStyle/>
        <a:p>
          <a:pPr algn="ctr" rtl="0"/>
          <a:r>
            <a:rPr lang="en-US" sz="2600" dirty="0">
              <a:latin typeface="+mj-lt"/>
            </a:rPr>
            <a:t>Pell Grant</a:t>
          </a:r>
        </a:p>
      </dgm:t>
    </dgm:pt>
    <dgm:pt modelId="{520F4DFA-3361-4D87-A9FF-75D5720593DE}" type="parTrans" cxnId="{D4196D0A-1D51-4010-8270-4667C0B9DDCF}">
      <dgm:prSet/>
      <dgm:spPr/>
      <dgm:t>
        <a:bodyPr/>
        <a:lstStyle/>
        <a:p>
          <a:pPr algn="ctr"/>
          <a:endParaRPr lang="en-US"/>
        </a:p>
      </dgm:t>
    </dgm:pt>
    <dgm:pt modelId="{EC94E8CF-6F97-425E-BD8F-A546F038E146}" type="sibTrans" cxnId="{D4196D0A-1D51-4010-8270-4667C0B9DDCF}">
      <dgm:prSet/>
      <dgm:spPr/>
      <dgm:t>
        <a:bodyPr/>
        <a:lstStyle/>
        <a:p>
          <a:pPr algn="ctr"/>
          <a:endParaRPr lang="en-US"/>
        </a:p>
      </dgm:t>
    </dgm:pt>
    <dgm:pt modelId="{490ED550-8F99-4F54-BC25-A0A67E0AC796}">
      <dgm:prSet custT="1"/>
      <dgm:spPr/>
      <dgm:t>
        <a:bodyPr/>
        <a:lstStyle/>
        <a:p>
          <a:pPr algn="ctr" rtl="0"/>
          <a:r>
            <a:rPr lang="en-US" sz="2600" dirty="0">
              <a:latin typeface="+mj-lt"/>
            </a:rPr>
            <a:t>Federal Work-Study</a:t>
          </a:r>
        </a:p>
      </dgm:t>
    </dgm:pt>
    <dgm:pt modelId="{8BB5C974-0449-4313-8FEB-C9A05F28429D}" type="parTrans" cxnId="{C267EF2A-8AEC-4F65-BE4D-F31D87EFAD53}">
      <dgm:prSet/>
      <dgm:spPr/>
      <dgm:t>
        <a:bodyPr/>
        <a:lstStyle/>
        <a:p>
          <a:pPr algn="ctr"/>
          <a:endParaRPr lang="en-US"/>
        </a:p>
      </dgm:t>
    </dgm:pt>
    <dgm:pt modelId="{7EE3BBDF-7721-4CC8-8EDA-FDB8D43FD6B7}" type="sibTrans" cxnId="{C267EF2A-8AEC-4F65-BE4D-F31D87EFAD53}">
      <dgm:prSet/>
      <dgm:spPr/>
      <dgm:t>
        <a:bodyPr/>
        <a:lstStyle/>
        <a:p>
          <a:pPr algn="ctr"/>
          <a:endParaRPr lang="en-US"/>
        </a:p>
      </dgm:t>
    </dgm:pt>
    <dgm:pt modelId="{EA63ABEF-912F-46D6-9637-30C164967B9F}">
      <dgm:prSet custT="1"/>
      <dgm:spPr/>
      <dgm:t>
        <a:bodyPr/>
        <a:lstStyle/>
        <a:p>
          <a:pPr algn="ctr" rtl="0"/>
          <a:r>
            <a:rPr lang="en-US" sz="2600" dirty="0">
              <a:latin typeface="+mj-lt"/>
            </a:rPr>
            <a:t>Unsubsidized/Subsidized Student Loans</a:t>
          </a:r>
        </a:p>
      </dgm:t>
    </dgm:pt>
    <dgm:pt modelId="{8E48EA9E-E28D-42FB-B2A2-04CB1F35D363}" type="parTrans" cxnId="{AB52389B-39E2-480B-A433-C71F3436B075}">
      <dgm:prSet/>
      <dgm:spPr/>
      <dgm:t>
        <a:bodyPr/>
        <a:lstStyle/>
        <a:p>
          <a:pPr algn="ctr"/>
          <a:endParaRPr lang="en-US"/>
        </a:p>
      </dgm:t>
    </dgm:pt>
    <dgm:pt modelId="{269261E1-1D56-468C-8D7C-892B3F269AF3}" type="sibTrans" cxnId="{AB52389B-39E2-480B-A433-C71F3436B075}">
      <dgm:prSet/>
      <dgm:spPr/>
      <dgm:t>
        <a:bodyPr/>
        <a:lstStyle/>
        <a:p>
          <a:pPr algn="ctr"/>
          <a:endParaRPr lang="en-US"/>
        </a:p>
      </dgm:t>
    </dgm:pt>
    <dgm:pt modelId="{503543C2-E7E9-4E57-AC54-3442975875C0}">
      <dgm:prSet custT="1"/>
      <dgm:spPr/>
      <dgm:t>
        <a:bodyPr/>
        <a:lstStyle/>
        <a:p>
          <a:pPr algn="ctr" rtl="0"/>
          <a:r>
            <a:rPr lang="en-US" sz="2600" dirty="0">
              <a:latin typeface="+mj-lt"/>
            </a:rPr>
            <a:t>Parent Loans</a:t>
          </a:r>
        </a:p>
      </dgm:t>
    </dgm:pt>
    <dgm:pt modelId="{216BF61C-937E-49A4-904D-AEDF4455D8E6}" type="parTrans" cxnId="{0C21B5DC-6B03-402D-8FD2-210D0AEC14CE}">
      <dgm:prSet/>
      <dgm:spPr/>
      <dgm:t>
        <a:bodyPr/>
        <a:lstStyle/>
        <a:p>
          <a:pPr algn="ctr"/>
          <a:endParaRPr lang="en-US"/>
        </a:p>
      </dgm:t>
    </dgm:pt>
    <dgm:pt modelId="{86C84762-E4F8-4D3C-8C91-BB2734A43824}" type="sibTrans" cxnId="{0C21B5DC-6B03-402D-8FD2-210D0AEC14CE}">
      <dgm:prSet/>
      <dgm:spPr/>
      <dgm:t>
        <a:bodyPr/>
        <a:lstStyle/>
        <a:p>
          <a:pPr algn="ctr"/>
          <a:endParaRPr lang="en-US"/>
        </a:p>
      </dgm:t>
    </dgm:pt>
    <dgm:pt modelId="{E699CF4F-93C7-49C6-9BDE-8C40EAFB3487}" type="pres">
      <dgm:prSet presAssocID="{575F85C4-48CF-4C01-BDE6-439509E69B69}" presName="linear" presStyleCnt="0">
        <dgm:presLayoutVars>
          <dgm:animLvl val="lvl"/>
          <dgm:resizeHandles val="exact"/>
        </dgm:presLayoutVars>
      </dgm:prSet>
      <dgm:spPr/>
    </dgm:pt>
    <dgm:pt modelId="{A5D1DB7A-2623-4E40-8A97-21F71B94694E}" type="pres">
      <dgm:prSet presAssocID="{2ADB4F8E-634A-4577-8846-11B28C6D8967}" presName="parentText" presStyleLbl="node1" presStyleIdx="0" presStyleCnt="4">
        <dgm:presLayoutVars>
          <dgm:chMax val="0"/>
          <dgm:bulletEnabled val="1"/>
        </dgm:presLayoutVars>
      </dgm:prSet>
      <dgm:spPr/>
    </dgm:pt>
    <dgm:pt modelId="{D3A82FD0-E0A5-4B7F-9C99-EFC97ECDFAD3}" type="pres">
      <dgm:prSet presAssocID="{EC94E8CF-6F97-425E-BD8F-A546F038E146}" presName="spacer" presStyleCnt="0"/>
      <dgm:spPr/>
    </dgm:pt>
    <dgm:pt modelId="{855489E8-F248-45DB-B8B1-75DDA1E139AD}" type="pres">
      <dgm:prSet presAssocID="{490ED550-8F99-4F54-BC25-A0A67E0AC796}" presName="parentText" presStyleLbl="node1" presStyleIdx="1" presStyleCnt="4">
        <dgm:presLayoutVars>
          <dgm:chMax val="0"/>
          <dgm:bulletEnabled val="1"/>
        </dgm:presLayoutVars>
      </dgm:prSet>
      <dgm:spPr/>
    </dgm:pt>
    <dgm:pt modelId="{1C099B71-23E7-441B-A5AA-70E9803EEB39}" type="pres">
      <dgm:prSet presAssocID="{7EE3BBDF-7721-4CC8-8EDA-FDB8D43FD6B7}" presName="spacer" presStyleCnt="0"/>
      <dgm:spPr/>
    </dgm:pt>
    <dgm:pt modelId="{CD12BA3A-2F4C-4219-A6A1-F4EEC1981CEB}" type="pres">
      <dgm:prSet presAssocID="{EA63ABEF-912F-46D6-9637-30C164967B9F}" presName="parentText" presStyleLbl="node1" presStyleIdx="2" presStyleCnt="4">
        <dgm:presLayoutVars>
          <dgm:chMax val="0"/>
          <dgm:bulletEnabled val="1"/>
        </dgm:presLayoutVars>
      </dgm:prSet>
      <dgm:spPr/>
    </dgm:pt>
    <dgm:pt modelId="{87C12CB3-DB94-4BA6-8E8D-CF285A8A2070}" type="pres">
      <dgm:prSet presAssocID="{269261E1-1D56-468C-8D7C-892B3F269AF3}" presName="spacer" presStyleCnt="0"/>
      <dgm:spPr/>
    </dgm:pt>
    <dgm:pt modelId="{5AB01CB7-F3BC-41D1-B5E8-A88309A4CF61}" type="pres">
      <dgm:prSet presAssocID="{503543C2-E7E9-4E57-AC54-3442975875C0}" presName="parentText" presStyleLbl="node1" presStyleIdx="3" presStyleCnt="4">
        <dgm:presLayoutVars>
          <dgm:chMax val="0"/>
          <dgm:bulletEnabled val="1"/>
        </dgm:presLayoutVars>
      </dgm:prSet>
      <dgm:spPr/>
    </dgm:pt>
  </dgm:ptLst>
  <dgm:cxnLst>
    <dgm:cxn modelId="{D4196D0A-1D51-4010-8270-4667C0B9DDCF}" srcId="{575F85C4-48CF-4C01-BDE6-439509E69B69}" destId="{2ADB4F8E-634A-4577-8846-11B28C6D8967}" srcOrd="0" destOrd="0" parTransId="{520F4DFA-3361-4D87-A9FF-75D5720593DE}" sibTransId="{EC94E8CF-6F97-425E-BD8F-A546F038E146}"/>
    <dgm:cxn modelId="{B7A14C26-8AC0-4013-A463-574C4D65B7BF}" type="presOf" srcId="{503543C2-E7E9-4E57-AC54-3442975875C0}" destId="{5AB01CB7-F3BC-41D1-B5E8-A88309A4CF61}" srcOrd="0" destOrd="0" presId="urn:microsoft.com/office/officeart/2005/8/layout/vList2"/>
    <dgm:cxn modelId="{C267EF2A-8AEC-4F65-BE4D-F31D87EFAD53}" srcId="{575F85C4-48CF-4C01-BDE6-439509E69B69}" destId="{490ED550-8F99-4F54-BC25-A0A67E0AC796}" srcOrd="1" destOrd="0" parTransId="{8BB5C974-0449-4313-8FEB-C9A05F28429D}" sibTransId="{7EE3BBDF-7721-4CC8-8EDA-FDB8D43FD6B7}"/>
    <dgm:cxn modelId="{573F0F43-0749-4BD5-80E7-EAF5FE643995}" type="presOf" srcId="{490ED550-8F99-4F54-BC25-A0A67E0AC796}" destId="{855489E8-F248-45DB-B8B1-75DDA1E139AD}" srcOrd="0" destOrd="0" presId="urn:microsoft.com/office/officeart/2005/8/layout/vList2"/>
    <dgm:cxn modelId="{AB52389B-39E2-480B-A433-C71F3436B075}" srcId="{575F85C4-48CF-4C01-BDE6-439509E69B69}" destId="{EA63ABEF-912F-46D6-9637-30C164967B9F}" srcOrd="2" destOrd="0" parTransId="{8E48EA9E-E28D-42FB-B2A2-04CB1F35D363}" sibTransId="{269261E1-1D56-468C-8D7C-892B3F269AF3}"/>
    <dgm:cxn modelId="{B2B845B2-3315-4A57-B2C8-D1A39B24F256}" type="presOf" srcId="{2ADB4F8E-634A-4577-8846-11B28C6D8967}" destId="{A5D1DB7A-2623-4E40-8A97-21F71B94694E}" srcOrd="0" destOrd="0" presId="urn:microsoft.com/office/officeart/2005/8/layout/vList2"/>
    <dgm:cxn modelId="{0C21B5DC-6B03-402D-8FD2-210D0AEC14CE}" srcId="{575F85C4-48CF-4C01-BDE6-439509E69B69}" destId="{503543C2-E7E9-4E57-AC54-3442975875C0}" srcOrd="3" destOrd="0" parTransId="{216BF61C-937E-49A4-904D-AEDF4455D8E6}" sibTransId="{86C84762-E4F8-4D3C-8C91-BB2734A43824}"/>
    <dgm:cxn modelId="{6880BDE2-F3B6-4CAA-A941-5BEE0A7F2918}" type="presOf" srcId="{EA63ABEF-912F-46D6-9637-30C164967B9F}" destId="{CD12BA3A-2F4C-4219-A6A1-F4EEC1981CEB}" srcOrd="0" destOrd="0" presId="urn:microsoft.com/office/officeart/2005/8/layout/vList2"/>
    <dgm:cxn modelId="{54CBEBED-6C40-44B7-87DC-A780DDDA8A04}" type="presOf" srcId="{575F85C4-48CF-4C01-BDE6-439509E69B69}" destId="{E699CF4F-93C7-49C6-9BDE-8C40EAFB3487}" srcOrd="0" destOrd="0" presId="urn:microsoft.com/office/officeart/2005/8/layout/vList2"/>
    <dgm:cxn modelId="{384F1157-BA17-4CC8-A440-B126C9ACFFD8}" type="presParOf" srcId="{E699CF4F-93C7-49C6-9BDE-8C40EAFB3487}" destId="{A5D1DB7A-2623-4E40-8A97-21F71B94694E}" srcOrd="0" destOrd="0" presId="urn:microsoft.com/office/officeart/2005/8/layout/vList2"/>
    <dgm:cxn modelId="{6A98E2D8-1177-4FF5-9E7D-097835BE4241}" type="presParOf" srcId="{E699CF4F-93C7-49C6-9BDE-8C40EAFB3487}" destId="{D3A82FD0-E0A5-4B7F-9C99-EFC97ECDFAD3}" srcOrd="1" destOrd="0" presId="urn:microsoft.com/office/officeart/2005/8/layout/vList2"/>
    <dgm:cxn modelId="{486FB24D-1E1B-4768-B395-580EF53C8848}" type="presParOf" srcId="{E699CF4F-93C7-49C6-9BDE-8C40EAFB3487}" destId="{855489E8-F248-45DB-B8B1-75DDA1E139AD}" srcOrd="2" destOrd="0" presId="urn:microsoft.com/office/officeart/2005/8/layout/vList2"/>
    <dgm:cxn modelId="{D7781A66-9439-4545-9EE4-28E4D5D1CD3D}" type="presParOf" srcId="{E699CF4F-93C7-49C6-9BDE-8C40EAFB3487}" destId="{1C099B71-23E7-441B-A5AA-70E9803EEB39}" srcOrd="3" destOrd="0" presId="urn:microsoft.com/office/officeart/2005/8/layout/vList2"/>
    <dgm:cxn modelId="{53175C1B-B330-4016-829C-50A1819B5A4B}" type="presParOf" srcId="{E699CF4F-93C7-49C6-9BDE-8C40EAFB3487}" destId="{CD12BA3A-2F4C-4219-A6A1-F4EEC1981CEB}" srcOrd="4" destOrd="0" presId="urn:microsoft.com/office/officeart/2005/8/layout/vList2"/>
    <dgm:cxn modelId="{DDC531B8-5D6A-4150-BD11-C674C0A71F81}" type="presParOf" srcId="{E699CF4F-93C7-49C6-9BDE-8C40EAFB3487}" destId="{87C12CB3-DB94-4BA6-8E8D-CF285A8A2070}" srcOrd="5" destOrd="0" presId="urn:microsoft.com/office/officeart/2005/8/layout/vList2"/>
    <dgm:cxn modelId="{B15B5448-8756-4650-8525-69C110E32959}" type="presParOf" srcId="{E699CF4F-93C7-49C6-9BDE-8C40EAFB3487}" destId="{5AB01CB7-F3BC-41D1-B5E8-A88309A4CF61}"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3E6BB5E-DE0A-416D-B22C-288E501B8BEC}"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650733C7-83CE-484C-B820-5F35BA8A2B56}">
      <dgm:prSet custT="1"/>
      <dgm:spPr/>
      <dgm:t>
        <a:bodyPr/>
        <a:lstStyle/>
        <a:p>
          <a:pPr algn="ctr" rtl="0"/>
          <a:r>
            <a:rPr lang="en-US" sz="2600" dirty="0">
              <a:latin typeface="+mj-lt"/>
            </a:rPr>
            <a:t>Washington College Grant             (also known as the WA Grant)</a:t>
          </a:r>
        </a:p>
      </dgm:t>
    </dgm:pt>
    <dgm:pt modelId="{193D2135-F70F-496F-AF14-4BA74CAF2A59}" type="parTrans" cxnId="{7A278429-D999-4194-9985-FB85F8732F58}">
      <dgm:prSet/>
      <dgm:spPr/>
      <dgm:t>
        <a:bodyPr/>
        <a:lstStyle/>
        <a:p>
          <a:endParaRPr lang="en-US"/>
        </a:p>
      </dgm:t>
    </dgm:pt>
    <dgm:pt modelId="{65E12C37-7578-4BDA-B34D-6637E7E659A8}" type="sibTrans" cxnId="{7A278429-D999-4194-9985-FB85F8732F58}">
      <dgm:prSet/>
      <dgm:spPr/>
      <dgm:t>
        <a:bodyPr/>
        <a:lstStyle/>
        <a:p>
          <a:endParaRPr lang="en-US"/>
        </a:p>
      </dgm:t>
    </dgm:pt>
    <dgm:pt modelId="{0AFAB379-F8EE-4B57-8C7B-3AAB4A9A5460}">
      <dgm:prSet custT="1"/>
      <dgm:spPr/>
      <dgm:t>
        <a:bodyPr/>
        <a:lstStyle/>
        <a:p>
          <a:pPr algn="ctr" rtl="0"/>
          <a:r>
            <a:rPr lang="en-US" sz="2600" dirty="0">
              <a:latin typeface="+mj-lt"/>
            </a:rPr>
            <a:t>College Bound Scholarship</a:t>
          </a:r>
        </a:p>
      </dgm:t>
    </dgm:pt>
    <dgm:pt modelId="{540E3AE2-EE9B-4198-8C4F-080F969E5FD5}" type="parTrans" cxnId="{331C626F-28CD-46A8-AA9D-7FB27542102C}">
      <dgm:prSet/>
      <dgm:spPr/>
      <dgm:t>
        <a:bodyPr/>
        <a:lstStyle/>
        <a:p>
          <a:endParaRPr lang="en-US"/>
        </a:p>
      </dgm:t>
    </dgm:pt>
    <dgm:pt modelId="{AF47DEE0-8B99-4ACF-86C2-5101EB2D84D6}" type="sibTrans" cxnId="{331C626F-28CD-46A8-AA9D-7FB27542102C}">
      <dgm:prSet/>
      <dgm:spPr/>
      <dgm:t>
        <a:bodyPr/>
        <a:lstStyle/>
        <a:p>
          <a:endParaRPr lang="en-US"/>
        </a:p>
      </dgm:t>
    </dgm:pt>
    <dgm:pt modelId="{4B518E45-6178-4880-A0C2-35C30EFBA29C}">
      <dgm:prSet custT="1"/>
      <dgm:spPr/>
      <dgm:t>
        <a:bodyPr/>
        <a:lstStyle/>
        <a:p>
          <a:pPr algn="ctr" rtl="0"/>
          <a:r>
            <a:rPr lang="en-US" sz="2600" dirty="0">
              <a:latin typeface="+mj-lt"/>
            </a:rPr>
            <a:t>State Work-Study</a:t>
          </a:r>
        </a:p>
      </dgm:t>
    </dgm:pt>
    <dgm:pt modelId="{2D7398C9-2172-47E5-A368-4F4FFD1354E7}" type="parTrans" cxnId="{33D35D84-929C-4E15-A860-365AA889FC47}">
      <dgm:prSet/>
      <dgm:spPr/>
      <dgm:t>
        <a:bodyPr/>
        <a:lstStyle/>
        <a:p>
          <a:endParaRPr lang="en-US"/>
        </a:p>
      </dgm:t>
    </dgm:pt>
    <dgm:pt modelId="{142BA9F5-4EEB-4E8B-B382-567CACDA4B64}" type="sibTrans" cxnId="{33D35D84-929C-4E15-A860-365AA889FC47}">
      <dgm:prSet/>
      <dgm:spPr/>
      <dgm:t>
        <a:bodyPr/>
        <a:lstStyle/>
        <a:p>
          <a:endParaRPr lang="en-US"/>
        </a:p>
      </dgm:t>
    </dgm:pt>
    <dgm:pt modelId="{4175AB52-7183-4BA8-922E-7FC20D4E585A}">
      <dgm:prSet custT="1"/>
      <dgm:spPr/>
      <dgm:t>
        <a:bodyPr/>
        <a:lstStyle/>
        <a:p>
          <a:pPr algn="ctr" rtl="0"/>
          <a:r>
            <a:rPr lang="en-US" sz="2600" dirty="0">
              <a:latin typeface="+mj-lt"/>
            </a:rPr>
            <a:t>Passport to Careers</a:t>
          </a:r>
        </a:p>
      </dgm:t>
    </dgm:pt>
    <dgm:pt modelId="{039F2887-033B-4D88-B155-2A3549FF1C9F}" type="parTrans" cxnId="{F6412528-77D4-4A6F-814C-D7AADDB3920C}">
      <dgm:prSet/>
      <dgm:spPr/>
      <dgm:t>
        <a:bodyPr/>
        <a:lstStyle/>
        <a:p>
          <a:endParaRPr lang="en-US"/>
        </a:p>
      </dgm:t>
    </dgm:pt>
    <dgm:pt modelId="{3D1A44AF-4F15-428A-BA32-7E2C1F53B3B3}" type="sibTrans" cxnId="{F6412528-77D4-4A6F-814C-D7AADDB3920C}">
      <dgm:prSet/>
      <dgm:spPr/>
      <dgm:t>
        <a:bodyPr/>
        <a:lstStyle/>
        <a:p>
          <a:endParaRPr lang="en-US"/>
        </a:p>
      </dgm:t>
    </dgm:pt>
    <dgm:pt modelId="{E7884964-A33C-41DC-8855-8473ED6F3025}">
      <dgm:prSet custT="1"/>
      <dgm:spPr/>
      <dgm:t>
        <a:bodyPr/>
        <a:lstStyle/>
        <a:p>
          <a:pPr algn="ctr" rtl="0"/>
          <a:r>
            <a:rPr lang="en-US" sz="2600" dirty="0">
              <a:latin typeface="+mj-lt"/>
            </a:rPr>
            <a:t>Opportunity Grant</a:t>
          </a:r>
        </a:p>
      </dgm:t>
    </dgm:pt>
    <dgm:pt modelId="{1341F732-415A-4886-8916-D1CBC9388D93}" type="parTrans" cxnId="{6C5D067A-A5F2-410D-8903-C5C4638154FF}">
      <dgm:prSet/>
      <dgm:spPr/>
      <dgm:t>
        <a:bodyPr/>
        <a:lstStyle/>
        <a:p>
          <a:endParaRPr lang="en-US"/>
        </a:p>
      </dgm:t>
    </dgm:pt>
    <dgm:pt modelId="{55C7DC68-8803-4C99-9FEB-CD5339E162E7}" type="sibTrans" cxnId="{6C5D067A-A5F2-410D-8903-C5C4638154FF}">
      <dgm:prSet/>
      <dgm:spPr/>
      <dgm:t>
        <a:bodyPr/>
        <a:lstStyle/>
        <a:p>
          <a:endParaRPr lang="en-US"/>
        </a:p>
      </dgm:t>
    </dgm:pt>
    <dgm:pt modelId="{44BA10AD-E430-4935-80FC-CBAB25CF2FB8}" type="pres">
      <dgm:prSet presAssocID="{93E6BB5E-DE0A-416D-B22C-288E501B8BEC}" presName="linear" presStyleCnt="0">
        <dgm:presLayoutVars>
          <dgm:animLvl val="lvl"/>
          <dgm:resizeHandles val="exact"/>
        </dgm:presLayoutVars>
      </dgm:prSet>
      <dgm:spPr/>
    </dgm:pt>
    <dgm:pt modelId="{82B90C0F-8546-40EC-955C-8E30C8FA0D29}" type="pres">
      <dgm:prSet presAssocID="{650733C7-83CE-484C-B820-5F35BA8A2B56}" presName="parentText" presStyleLbl="node1" presStyleIdx="0" presStyleCnt="5" custLinFactNeighborX="-26090" custLinFactNeighborY="-38463">
        <dgm:presLayoutVars>
          <dgm:chMax val="0"/>
          <dgm:bulletEnabled val="1"/>
        </dgm:presLayoutVars>
      </dgm:prSet>
      <dgm:spPr/>
    </dgm:pt>
    <dgm:pt modelId="{5F61DF50-C8E8-48B6-8D8E-DE8731C9CC3B}" type="pres">
      <dgm:prSet presAssocID="{65E12C37-7578-4BDA-B34D-6637E7E659A8}" presName="spacer" presStyleCnt="0"/>
      <dgm:spPr/>
    </dgm:pt>
    <dgm:pt modelId="{D4F96D99-37BD-481E-BB4A-A5B6CDCAF097}" type="pres">
      <dgm:prSet presAssocID="{0AFAB379-F8EE-4B57-8C7B-3AAB4A9A5460}" presName="parentText" presStyleLbl="node1" presStyleIdx="1" presStyleCnt="5">
        <dgm:presLayoutVars>
          <dgm:chMax val="0"/>
          <dgm:bulletEnabled val="1"/>
        </dgm:presLayoutVars>
      </dgm:prSet>
      <dgm:spPr/>
    </dgm:pt>
    <dgm:pt modelId="{B6EAE6AC-65D4-4B79-867A-8B333E46A6BF}" type="pres">
      <dgm:prSet presAssocID="{AF47DEE0-8B99-4ACF-86C2-5101EB2D84D6}" presName="spacer" presStyleCnt="0"/>
      <dgm:spPr/>
    </dgm:pt>
    <dgm:pt modelId="{FDCC5EB3-5440-4D22-8B0E-23E0348BED7D}" type="pres">
      <dgm:prSet presAssocID="{4B518E45-6178-4880-A0C2-35C30EFBA29C}" presName="parentText" presStyleLbl="node1" presStyleIdx="2" presStyleCnt="5">
        <dgm:presLayoutVars>
          <dgm:chMax val="0"/>
          <dgm:bulletEnabled val="1"/>
        </dgm:presLayoutVars>
      </dgm:prSet>
      <dgm:spPr/>
    </dgm:pt>
    <dgm:pt modelId="{0C37CC7E-8A24-4766-8B7F-3FCAF4363FCF}" type="pres">
      <dgm:prSet presAssocID="{142BA9F5-4EEB-4E8B-B382-567CACDA4B64}" presName="spacer" presStyleCnt="0"/>
      <dgm:spPr/>
    </dgm:pt>
    <dgm:pt modelId="{86B1EE22-7404-4D82-9598-047F608C0404}" type="pres">
      <dgm:prSet presAssocID="{4175AB52-7183-4BA8-922E-7FC20D4E585A}" presName="parentText" presStyleLbl="node1" presStyleIdx="3" presStyleCnt="5">
        <dgm:presLayoutVars>
          <dgm:chMax val="0"/>
          <dgm:bulletEnabled val="1"/>
        </dgm:presLayoutVars>
      </dgm:prSet>
      <dgm:spPr/>
    </dgm:pt>
    <dgm:pt modelId="{8D9A2D72-3696-440B-A3BD-6395EB367D6D}" type="pres">
      <dgm:prSet presAssocID="{3D1A44AF-4F15-428A-BA32-7E2C1F53B3B3}" presName="spacer" presStyleCnt="0"/>
      <dgm:spPr/>
    </dgm:pt>
    <dgm:pt modelId="{A80CE770-6EF5-4476-B603-24C453019235}" type="pres">
      <dgm:prSet presAssocID="{E7884964-A33C-41DC-8855-8473ED6F3025}" presName="parentText" presStyleLbl="node1" presStyleIdx="4" presStyleCnt="5">
        <dgm:presLayoutVars>
          <dgm:chMax val="0"/>
          <dgm:bulletEnabled val="1"/>
        </dgm:presLayoutVars>
      </dgm:prSet>
      <dgm:spPr/>
    </dgm:pt>
  </dgm:ptLst>
  <dgm:cxnLst>
    <dgm:cxn modelId="{F6412528-77D4-4A6F-814C-D7AADDB3920C}" srcId="{93E6BB5E-DE0A-416D-B22C-288E501B8BEC}" destId="{4175AB52-7183-4BA8-922E-7FC20D4E585A}" srcOrd="3" destOrd="0" parTransId="{039F2887-033B-4D88-B155-2A3549FF1C9F}" sibTransId="{3D1A44AF-4F15-428A-BA32-7E2C1F53B3B3}"/>
    <dgm:cxn modelId="{7A278429-D999-4194-9985-FB85F8732F58}" srcId="{93E6BB5E-DE0A-416D-B22C-288E501B8BEC}" destId="{650733C7-83CE-484C-B820-5F35BA8A2B56}" srcOrd="0" destOrd="0" parTransId="{193D2135-F70F-496F-AF14-4BA74CAF2A59}" sibTransId="{65E12C37-7578-4BDA-B34D-6637E7E659A8}"/>
    <dgm:cxn modelId="{F8BB9C33-9F35-457E-B7CB-5C93402EA824}" type="presOf" srcId="{93E6BB5E-DE0A-416D-B22C-288E501B8BEC}" destId="{44BA10AD-E430-4935-80FC-CBAB25CF2FB8}" srcOrd="0" destOrd="0" presId="urn:microsoft.com/office/officeart/2005/8/layout/vList2"/>
    <dgm:cxn modelId="{331C626F-28CD-46A8-AA9D-7FB27542102C}" srcId="{93E6BB5E-DE0A-416D-B22C-288E501B8BEC}" destId="{0AFAB379-F8EE-4B57-8C7B-3AAB4A9A5460}" srcOrd="1" destOrd="0" parTransId="{540E3AE2-EE9B-4198-8C4F-080F969E5FD5}" sibTransId="{AF47DEE0-8B99-4ACF-86C2-5101EB2D84D6}"/>
    <dgm:cxn modelId="{F5F71970-C23D-4C70-B257-9E9114445DAE}" type="presOf" srcId="{E7884964-A33C-41DC-8855-8473ED6F3025}" destId="{A80CE770-6EF5-4476-B603-24C453019235}" srcOrd="0" destOrd="0" presId="urn:microsoft.com/office/officeart/2005/8/layout/vList2"/>
    <dgm:cxn modelId="{6C5D067A-A5F2-410D-8903-C5C4638154FF}" srcId="{93E6BB5E-DE0A-416D-B22C-288E501B8BEC}" destId="{E7884964-A33C-41DC-8855-8473ED6F3025}" srcOrd="4" destOrd="0" parTransId="{1341F732-415A-4886-8916-D1CBC9388D93}" sibTransId="{55C7DC68-8803-4C99-9FEB-CD5339E162E7}"/>
    <dgm:cxn modelId="{12B84C83-6E6F-4F93-B836-B87652DE64DF}" type="presOf" srcId="{4175AB52-7183-4BA8-922E-7FC20D4E585A}" destId="{86B1EE22-7404-4D82-9598-047F608C0404}" srcOrd="0" destOrd="0" presId="urn:microsoft.com/office/officeart/2005/8/layout/vList2"/>
    <dgm:cxn modelId="{33D35D84-929C-4E15-A860-365AA889FC47}" srcId="{93E6BB5E-DE0A-416D-B22C-288E501B8BEC}" destId="{4B518E45-6178-4880-A0C2-35C30EFBA29C}" srcOrd="2" destOrd="0" parTransId="{2D7398C9-2172-47E5-A368-4F4FFD1354E7}" sibTransId="{142BA9F5-4EEB-4E8B-B382-567CACDA4B64}"/>
    <dgm:cxn modelId="{07750AC5-D0FC-4E1B-9AD5-D7F416F9A091}" type="presOf" srcId="{650733C7-83CE-484C-B820-5F35BA8A2B56}" destId="{82B90C0F-8546-40EC-955C-8E30C8FA0D29}" srcOrd="0" destOrd="0" presId="urn:microsoft.com/office/officeart/2005/8/layout/vList2"/>
    <dgm:cxn modelId="{5317D1E8-F5B8-4E07-8EAB-A56BD840A871}" type="presOf" srcId="{0AFAB379-F8EE-4B57-8C7B-3AAB4A9A5460}" destId="{D4F96D99-37BD-481E-BB4A-A5B6CDCAF097}" srcOrd="0" destOrd="0" presId="urn:microsoft.com/office/officeart/2005/8/layout/vList2"/>
    <dgm:cxn modelId="{F39AC1F5-DB49-43E7-BC2A-4E15B3E70D39}" type="presOf" srcId="{4B518E45-6178-4880-A0C2-35C30EFBA29C}" destId="{FDCC5EB3-5440-4D22-8B0E-23E0348BED7D}" srcOrd="0" destOrd="0" presId="urn:microsoft.com/office/officeart/2005/8/layout/vList2"/>
    <dgm:cxn modelId="{78388C29-2E7F-4A2C-A89C-AB4EDDA3BC72}" type="presParOf" srcId="{44BA10AD-E430-4935-80FC-CBAB25CF2FB8}" destId="{82B90C0F-8546-40EC-955C-8E30C8FA0D29}" srcOrd="0" destOrd="0" presId="urn:microsoft.com/office/officeart/2005/8/layout/vList2"/>
    <dgm:cxn modelId="{57FED187-5030-456A-81AC-9265544E4C84}" type="presParOf" srcId="{44BA10AD-E430-4935-80FC-CBAB25CF2FB8}" destId="{5F61DF50-C8E8-48B6-8D8E-DE8731C9CC3B}" srcOrd="1" destOrd="0" presId="urn:microsoft.com/office/officeart/2005/8/layout/vList2"/>
    <dgm:cxn modelId="{EE9BF9A5-0923-4CCF-8964-6917B7A0B023}" type="presParOf" srcId="{44BA10AD-E430-4935-80FC-CBAB25CF2FB8}" destId="{D4F96D99-37BD-481E-BB4A-A5B6CDCAF097}" srcOrd="2" destOrd="0" presId="urn:microsoft.com/office/officeart/2005/8/layout/vList2"/>
    <dgm:cxn modelId="{A00B6715-E1A9-4C92-A73A-F02D2C5A9961}" type="presParOf" srcId="{44BA10AD-E430-4935-80FC-CBAB25CF2FB8}" destId="{B6EAE6AC-65D4-4B79-867A-8B333E46A6BF}" srcOrd="3" destOrd="0" presId="urn:microsoft.com/office/officeart/2005/8/layout/vList2"/>
    <dgm:cxn modelId="{EEB12AEF-6833-4A57-A7C0-0C8C98646C7A}" type="presParOf" srcId="{44BA10AD-E430-4935-80FC-CBAB25CF2FB8}" destId="{FDCC5EB3-5440-4D22-8B0E-23E0348BED7D}" srcOrd="4" destOrd="0" presId="urn:microsoft.com/office/officeart/2005/8/layout/vList2"/>
    <dgm:cxn modelId="{A88B58BF-A4CF-4CD7-B333-2E5341208461}" type="presParOf" srcId="{44BA10AD-E430-4935-80FC-CBAB25CF2FB8}" destId="{0C37CC7E-8A24-4766-8B7F-3FCAF4363FCF}" srcOrd="5" destOrd="0" presId="urn:microsoft.com/office/officeart/2005/8/layout/vList2"/>
    <dgm:cxn modelId="{59D61908-9D10-42C4-90E0-8E0B2BA58700}" type="presParOf" srcId="{44BA10AD-E430-4935-80FC-CBAB25CF2FB8}" destId="{86B1EE22-7404-4D82-9598-047F608C0404}" srcOrd="6" destOrd="0" presId="urn:microsoft.com/office/officeart/2005/8/layout/vList2"/>
    <dgm:cxn modelId="{85D2BCAB-6280-4DB2-93D8-8434D8F05477}" type="presParOf" srcId="{44BA10AD-E430-4935-80FC-CBAB25CF2FB8}" destId="{8D9A2D72-3696-440B-A3BD-6395EB367D6D}" srcOrd="7" destOrd="0" presId="urn:microsoft.com/office/officeart/2005/8/layout/vList2"/>
    <dgm:cxn modelId="{FD88516C-4CAB-40E3-A636-5605B4A0C99B}" type="presParOf" srcId="{44BA10AD-E430-4935-80FC-CBAB25CF2FB8}" destId="{A80CE770-6EF5-4476-B603-24C453019235}"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E7A7BD1-2669-4DAD-84D8-BB18ED0617FB}"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US"/>
        </a:p>
      </dgm:t>
    </dgm:pt>
    <dgm:pt modelId="{E806BF80-08AC-41F4-93E9-AF09A6DD74DB}">
      <dgm:prSet phldrT="[Text]" custT="1"/>
      <dgm:spPr/>
      <dgm:t>
        <a:bodyPr/>
        <a:lstStyle/>
        <a:p>
          <a:r>
            <a:rPr lang="en-US" sz="4800" b="1" i="1">
              <a:latin typeface="Tw Cen MT" panose="020B0602020104020603" pitchFamily="34" charset="0"/>
            </a:rPr>
            <a:t>Step</a:t>
          </a:r>
          <a:r>
            <a:rPr lang="en-US" sz="6000"/>
            <a:t> </a:t>
          </a:r>
          <a:r>
            <a:rPr lang="en-US" sz="4800" b="1" i="1">
              <a:latin typeface="Tw Cen MT" panose="020B0602020104020603" pitchFamily="34" charset="0"/>
            </a:rPr>
            <a:t>One</a:t>
          </a:r>
        </a:p>
      </dgm:t>
    </dgm:pt>
    <dgm:pt modelId="{8B909DC2-8EC0-461B-A7E6-3258FB32B0A3}" type="parTrans" cxnId="{E8957C36-5315-4A13-8DF1-1659020D746B}">
      <dgm:prSet/>
      <dgm:spPr/>
      <dgm:t>
        <a:bodyPr/>
        <a:lstStyle/>
        <a:p>
          <a:endParaRPr lang="en-US"/>
        </a:p>
      </dgm:t>
    </dgm:pt>
    <dgm:pt modelId="{B09CE747-DB44-4FB4-B3DB-C29B1AA522C2}" type="sibTrans" cxnId="{E8957C36-5315-4A13-8DF1-1659020D746B}">
      <dgm:prSet/>
      <dgm:spPr/>
      <dgm:t>
        <a:bodyPr/>
        <a:lstStyle/>
        <a:p>
          <a:endParaRPr lang="en-US"/>
        </a:p>
      </dgm:t>
    </dgm:pt>
    <dgm:pt modelId="{7018BFCE-3151-4EFD-A920-CD6FF3DEB587}">
      <dgm:prSet phldrT="[Text]" custT="1"/>
      <dgm:spPr/>
      <dgm:t>
        <a:bodyPr/>
        <a:lstStyle/>
        <a:p>
          <a:r>
            <a:rPr lang="en-US" sz="2400">
              <a:solidFill>
                <a:srgbClr val="02060A"/>
              </a:solidFill>
              <a:latin typeface="Tw Cen MT" panose="020B0602020104020603" pitchFamily="34" charset="0"/>
            </a:rPr>
            <a:t>Auto-enrollment for eligible public-school students. </a:t>
          </a:r>
        </a:p>
      </dgm:t>
    </dgm:pt>
    <dgm:pt modelId="{9578FC2F-F2D1-4B14-A30F-B4E9108E83ED}" type="parTrans" cxnId="{7AAB669C-1575-40AF-81CC-8F8D664AF5DE}">
      <dgm:prSet/>
      <dgm:spPr/>
      <dgm:t>
        <a:bodyPr/>
        <a:lstStyle/>
        <a:p>
          <a:endParaRPr lang="en-US"/>
        </a:p>
      </dgm:t>
    </dgm:pt>
    <dgm:pt modelId="{206A5549-230A-4412-8F54-47EC706AE619}" type="sibTrans" cxnId="{7AAB669C-1575-40AF-81CC-8F8D664AF5DE}">
      <dgm:prSet/>
      <dgm:spPr/>
      <dgm:t>
        <a:bodyPr/>
        <a:lstStyle/>
        <a:p>
          <a:endParaRPr lang="en-US"/>
        </a:p>
      </dgm:t>
    </dgm:pt>
    <dgm:pt modelId="{3915B093-F4FC-429D-A5C7-91FB2B86F067}">
      <dgm:prSet phldrT="[Text]" custT="1"/>
      <dgm:spPr/>
      <dgm:t>
        <a:bodyPr/>
        <a:lstStyle/>
        <a:p>
          <a:r>
            <a:rPr lang="en-US" sz="4800" b="1" i="1">
              <a:latin typeface="Tw Cen MT" panose="020B0602020104020603" pitchFamily="34" charset="0"/>
            </a:rPr>
            <a:t>Step Two </a:t>
          </a:r>
          <a:endParaRPr lang="en-US" sz="4800">
            <a:latin typeface="Tw Cen MT" panose="020B0602020104020603" pitchFamily="34" charset="0"/>
          </a:endParaRPr>
        </a:p>
      </dgm:t>
    </dgm:pt>
    <dgm:pt modelId="{C0D3B505-ED2E-442E-A6BF-4790C1540D7E}" type="parTrans" cxnId="{EB656E28-9CBD-49D7-B40C-DEDA9FCE939A}">
      <dgm:prSet/>
      <dgm:spPr/>
      <dgm:t>
        <a:bodyPr/>
        <a:lstStyle/>
        <a:p>
          <a:endParaRPr lang="en-US"/>
        </a:p>
      </dgm:t>
    </dgm:pt>
    <dgm:pt modelId="{43AC0386-2EA6-4CD0-9019-70802BAD4546}" type="sibTrans" cxnId="{EB656E28-9CBD-49D7-B40C-DEDA9FCE939A}">
      <dgm:prSet/>
      <dgm:spPr/>
      <dgm:t>
        <a:bodyPr/>
        <a:lstStyle/>
        <a:p>
          <a:endParaRPr lang="en-US"/>
        </a:p>
      </dgm:t>
    </dgm:pt>
    <dgm:pt modelId="{E5D87DDB-A63C-44C5-86B5-0B58887442E5}">
      <dgm:prSet phldrT="[Text]" custT="1"/>
      <dgm:spPr/>
      <dgm:t>
        <a:bodyPr/>
        <a:lstStyle/>
        <a:p>
          <a:r>
            <a:rPr lang="en-US" sz="2400">
              <a:solidFill>
                <a:srgbClr val="02060A"/>
              </a:solidFill>
              <a:latin typeface="Tw Cen MT" panose="020B0602020104020603" pitchFamily="34" charset="0"/>
            </a:rPr>
            <a:t>Meet income and residency requirements. </a:t>
          </a:r>
        </a:p>
      </dgm:t>
    </dgm:pt>
    <dgm:pt modelId="{110FCF46-E0F9-47AF-9D36-3D0ABDEA59DA}" type="parTrans" cxnId="{2F1521AE-5B59-4311-8D29-36DA113BC6E8}">
      <dgm:prSet/>
      <dgm:spPr/>
      <dgm:t>
        <a:bodyPr/>
        <a:lstStyle/>
        <a:p>
          <a:endParaRPr lang="en-US"/>
        </a:p>
      </dgm:t>
    </dgm:pt>
    <dgm:pt modelId="{D459E8EC-4F5D-47B3-8812-B841F44A422D}" type="sibTrans" cxnId="{2F1521AE-5B59-4311-8D29-36DA113BC6E8}">
      <dgm:prSet/>
      <dgm:spPr/>
      <dgm:t>
        <a:bodyPr/>
        <a:lstStyle/>
        <a:p>
          <a:endParaRPr lang="en-US"/>
        </a:p>
      </dgm:t>
    </dgm:pt>
    <dgm:pt modelId="{2E14FACA-E58C-43A7-BD47-7B22009400DF}">
      <dgm:prSet phldrT="[Text]" custT="1"/>
      <dgm:spPr/>
      <dgm:t>
        <a:bodyPr/>
        <a:lstStyle/>
        <a:p>
          <a:r>
            <a:rPr lang="en-US" sz="2400">
              <a:solidFill>
                <a:srgbClr val="02060A"/>
              </a:solidFill>
              <a:latin typeface="Tw Cen MT" panose="020B0602020104020603" pitchFamily="34" charset="0"/>
            </a:rPr>
            <a:t>Fulfill the College Bound Pledge.</a:t>
          </a:r>
        </a:p>
      </dgm:t>
    </dgm:pt>
    <dgm:pt modelId="{B7103FD7-EE87-4028-97E2-B8399C47031C}" type="parTrans" cxnId="{C88789D8-E87A-43FC-9E4F-56E9E7AEDC67}">
      <dgm:prSet/>
      <dgm:spPr/>
      <dgm:t>
        <a:bodyPr/>
        <a:lstStyle/>
        <a:p>
          <a:endParaRPr lang="en-US"/>
        </a:p>
      </dgm:t>
    </dgm:pt>
    <dgm:pt modelId="{9755DFE8-4A95-432C-83B3-8B51978DEFE1}" type="sibTrans" cxnId="{C88789D8-E87A-43FC-9E4F-56E9E7AEDC67}">
      <dgm:prSet/>
      <dgm:spPr/>
      <dgm:t>
        <a:bodyPr/>
        <a:lstStyle/>
        <a:p>
          <a:endParaRPr lang="en-US"/>
        </a:p>
      </dgm:t>
    </dgm:pt>
    <dgm:pt modelId="{36129A6E-1385-4742-981E-A970E51AD31A}">
      <dgm:prSet phldrT="[Text]" custT="1"/>
      <dgm:spPr/>
      <dgm:t>
        <a:bodyPr/>
        <a:lstStyle/>
        <a:p>
          <a:r>
            <a:rPr lang="en-US" sz="2400">
              <a:solidFill>
                <a:srgbClr val="02060A"/>
              </a:solidFill>
              <a:latin typeface="Tw Cen MT" panose="020B0602020104020603" pitchFamily="34" charset="0"/>
            </a:rPr>
            <a:t>Foster Youth are auto-enrolled through HS graduation.</a:t>
          </a:r>
        </a:p>
      </dgm:t>
    </dgm:pt>
    <dgm:pt modelId="{26156EDA-4933-4CF1-B820-11D2523A418C}" type="parTrans" cxnId="{B17149EC-38ED-4787-BE3C-3894C15E91E5}">
      <dgm:prSet/>
      <dgm:spPr/>
      <dgm:t>
        <a:bodyPr/>
        <a:lstStyle/>
        <a:p>
          <a:endParaRPr lang="en-US"/>
        </a:p>
      </dgm:t>
    </dgm:pt>
    <dgm:pt modelId="{1CEDCFA7-C09B-4F8E-A700-DFE9B5C07BCC}" type="sibTrans" cxnId="{B17149EC-38ED-4787-BE3C-3894C15E91E5}">
      <dgm:prSet/>
      <dgm:spPr/>
      <dgm:t>
        <a:bodyPr/>
        <a:lstStyle/>
        <a:p>
          <a:endParaRPr lang="en-US"/>
        </a:p>
      </dgm:t>
    </dgm:pt>
    <dgm:pt modelId="{8555AF0B-D7F7-4103-9E06-D22A873DF252}">
      <dgm:prSet phldrT="[Text]" custT="1"/>
      <dgm:spPr/>
      <dgm:t>
        <a:bodyPr/>
        <a:lstStyle/>
        <a:p>
          <a:r>
            <a:rPr lang="en-US" sz="2400">
              <a:solidFill>
                <a:srgbClr val="02060A"/>
              </a:solidFill>
              <a:latin typeface="Tw Cen MT" panose="020B0602020104020603" pitchFamily="34" charset="0"/>
            </a:rPr>
            <a:t>Eligible for FRPL in 7</a:t>
          </a:r>
          <a:r>
            <a:rPr lang="en-US" sz="2400" baseline="0">
              <a:solidFill>
                <a:srgbClr val="02060A"/>
              </a:solidFill>
              <a:latin typeface="Tw Cen MT" panose="020B0602020104020603" pitchFamily="34" charset="0"/>
            </a:rPr>
            <a:t>th</a:t>
          </a:r>
          <a:r>
            <a:rPr lang="en-US" sz="2400">
              <a:solidFill>
                <a:srgbClr val="02060A"/>
              </a:solidFill>
              <a:latin typeface="Tw Cen MT" panose="020B0602020104020603" pitchFamily="34" charset="0"/>
            </a:rPr>
            <a:t>, 8</a:t>
          </a:r>
          <a:r>
            <a:rPr lang="en-US" sz="2400" baseline="0">
              <a:solidFill>
                <a:srgbClr val="02060A"/>
              </a:solidFill>
              <a:latin typeface="Tw Cen MT" panose="020B0602020104020603" pitchFamily="34" charset="0"/>
            </a:rPr>
            <a:t>th</a:t>
          </a:r>
          <a:r>
            <a:rPr lang="en-US" sz="2400">
              <a:solidFill>
                <a:srgbClr val="02060A"/>
              </a:solidFill>
              <a:latin typeface="Tw Cen MT" panose="020B0602020104020603" pitchFamily="34" charset="0"/>
            </a:rPr>
            <a:t>, or newly eligible in 9</a:t>
          </a:r>
          <a:r>
            <a:rPr lang="en-US" sz="2400" baseline="0">
              <a:solidFill>
                <a:srgbClr val="02060A"/>
              </a:solidFill>
              <a:latin typeface="Tw Cen MT" panose="020B0602020104020603" pitchFamily="34" charset="0"/>
            </a:rPr>
            <a:t>th</a:t>
          </a:r>
          <a:r>
            <a:rPr lang="en-US" sz="2400">
              <a:solidFill>
                <a:srgbClr val="02060A"/>
              </a:solidFill>
              <a:latin typeface="Tw Cen MT" panose="020B0602020104020603" pitchFamily="34" charset="0"/>
            </a:rPr>
            <a:t> grade.  </a:t>
          </a:r>
        </a:p>
      </dgm:t>
    </dgm:pt>
    <dgm:pt modelId="{311C11AB-BA40-49E9-9A9A-8BE88A88723B}" type="parTrans" cxnId="{DE5C6467-3F7C-4325-893F-9091022A9CE3}">
      <dgm:prSet/>
      <dgm:spPr/>
      <dgm:t>
        <a:bodyPr/>
        <a:lstStyle/>
        <a:p>
          <a:endParaRPr lang="en-US"/>
        </a:p>
      </dgm:t>
    </dgm:pt>
    <dgm:pt modelId="{44C50C1C-1CC1-4E00-BB55-57B54145F78C}" type="sibTrans" cxnId="{DE5C6467-3F7C-4325-893F-9091022A9CE3}">
      <dgm:prSet/>
      <dgm:spPr/>
      <dgm:t>
        <a:bodyPr/>
        <a:lstStyle/>
        <a:p>
          <a:endParaRPr lang="en-US"/>
        </a:p>
      </dgm:t>
    </dgm:pt>
    <dgm:pt modelId="{5EBD846C-9ADE-4010-89CC-37574EDB1ADF}">
      <dgm:prSet phldrT="[Text]" custT="1"/>
      <dgm:spPr/>
      <dgm:t>
        <a:bodyPr/>
        <a:lstStyle/>
        <a:p>
          <a:r>
            <a:rPr lang="en-US" sz="2400">
              <a:solidFill>
                <a:srgbClr val="02060A"/>
              </a:solidFill>
              <a:latin typeface="Tw Cen MT" panose="020B0602020104020603" pitchFamily="34" charset="0"/>
            </a:rPr>
            <a:t>Be accepted to and attend an eligible college. </a:t>
          </a:r>
        </a:p>
      </dgm:t>
    </dgm:pt>
    <dgm:pt modelId="{59AD4A52-42E5-458D-8624-D0B8C86AE04C}" type="parTrans" cxnId="{DDD27318-6A52-47C7-A54C-56B9A07B9E47}">
      <dgm:prSet/>
      <dgm:spPr/>
      <dgm:t>
        <a:bodyPr/>
        <a:lstStyle/>
        <a:p>
          <a:endParaRPr lang="en-US"/>
        </a:p>
      </dgm:t>
    </dgm:pt>
    <dgm:pt modelId="{616B2BE0-F203-4AB5-9132-0222281DD0B2}" type="sibTrans" cxnId="{DDD27318-6A52-47C7-A54C-56B9A07B9E47}">
      <dgm:prSet/>
      <dgm:spPr/>
      <dgm:t>
        <a:bodyPr/>
        <a:lstStyle/>
        <a:p>
          <a:endParaRPr lang="en-US"/>
        </a:p>
      </dgm:t>
    </dgm:pt>
    <dgm:pt modelId="{C77056A4-1647-4D60-A607-D16377620FE5}" type="pres">
      <dgm:prSet presAssocID="{4E7A7BD1-2669-4DAD-84D8-BB18ED0617FB}" presName="linearFlow" presStyleCnt="0">
        <dgm:presLayoutVars>
          <dgm:dir/>
          <dgm:animLvl val="lvl"/>
          <dgm:resizeHandles val="exact"/>
        </dgm:presLayoutVars>
      </dgm:prSet>
      <dgm:spPr/>
    </dgm:pt>
    <dgm:pt modelId="{093D2648-55EB-41C4-8CC3-575E6D5BCA2C}" type="pres">
      <dgm:prSet presAssocID="{E806BF80-08AC-41F4-93E9-AF09A6DD74DB}" presName="composite" presStyleCnt="0"/>
      <dgm:spPr/>
    </dgm:pt>
    <dgm:pt modelId="{34951870-DE78-464D-AF97-F751AB1ABDFE}" type="pres">
      <dgm:prSet presAssocID="{E806BF80-08AC-41F4-93E9-AF09A6DD74DB}" presName="parTx" presStyleLbl="node1" presStyleIdx="0" presStyleCnt="2">
        <dgm:presLayoutVars>
          <dgm:chMax val="0"/>
          <dgm:chPref val="0"/>
          <dgm:bulletEnabled val="1"/>
        </dgm:presLayoutVars>
      </dgm:prSet>
      <dgm:spPr/>
    </dgm:pt>
    <dgm:pt modelId="{30450EA1-9FBD-453D-ACC2-A772BA55C55C}" type="pres">
      <dgm:prSet presAssocID="{E806BF80-08AC-41F4-93E9-AF09A6DD74DB}" presName="parSh" presStyleLbl="node1" presStyleIdx="0" presStyleCnt="2"/>
      <dgm:spPr/>
    </dgm:pt>
    <dgm:pt modelId="{D42AD493-D081-4404-AEFE-F056A8EB8991}" type="pres">
      <dgm:prSet presAssocID="{E806BF80-08AC-41F4-93E9-AF09A6DD74DB}" presName="desTx" presStyleLbl="fgAcc1" presStyleIdx="0" presStyleCnt="2" custScaleY="100000">
        <dgm:presLayoutVars>
          <dgm:bulletEnabled val="1"/>
        </dgm:presLayoutVars>
      </dgm:prSet>
      <dgm:spPr/>
    </dgm:pt>
    <dgm:pt modelId="{E82F2CE7-4C1A-497F-BB88-DEF090CAF98F}" type="pres">
      <dgm:prSet presAssocID="{B09CE747-DB44-4FB4-B3DB-C29B1AA522C2}" presName="sibTrans" presStyleLbl="sibTrans2D1" presStyleIdx="0" presStyleCnt="1"/>
      <dgm:spPr/>
    </dgm:pt>
    <dgm:pt modelId="{4E3C75DC-88B3-469D-975A-B989B6525DF2}" type="pres">
      <dgm:prSet presAssocID="{B09CE747-DB44-4FB4-B3DB-C29B1AA522C2}" presName="connTx" presStyleLbl="sibTrans2D1" presStyleIdx="0" presStyleCnt="1"/>
      <dgm:spPr/>
    </dgm:pt>
    <dgm:pt modelId="{6C632361-738A-4773-8A86-22BEB0772521}" type="pres">
      <dgm:prSet presAssocID="{3915B093-F4FC-429D-A5C7-91FB2B86F067}" presName="composite" presStyleCnt="0"/>
      <dgm:spPr/>
    </dgm:pt>
    <dgm:pt modelId="{8A3E37A2-0E8D-4D1B-9DE7-5232BB4AB5D6}" type="pres">
      <dgm:prSet presAssocID="{3915B093-F4FC-429D-A5C7-91FB2B86F067}" presName="parTx" presStyleLbl="node1" presStyleIdx="0" presStyleCnt="2">
        <dgm:presLayoutVars>
          <dgm:chMax val="0"/>
          <dgm:chPref val="0"/>
          <dgm:bulletEnabled val="1"/>
        </dgm:presLayoutVars>
      </dgm:prSet>
      <dgm:spPr/>
    </dgm:pt>
    <dgm:pt modelId="{40E1B13B-2A28-4B8C-A623-EDD296FBB21D}" type="pres">
      <dgm:prSet presAssocID="{3915B093-F4FC-429D-A5C7-91FB2B86F067}" presName="parSh" presStyleLbl="node1" presStyleIdx="1" presStyleCnt="2"/>
      <dgm:spPr/>
    </dgm:pt>
    <dgm:pt modelId="{9918773F-4A5D-45FF-B7C2-BFD1C22A9343}" type="pres">
      <dgm:prSet presAssocID="{3915B093-F4FC-429D-A5C7-91FB2B86F067}" presName="desTx" presStyleLbl="fgAcc1" presStyleIdx="1" presStyleCnt="2">
        <dgm:presLayoutVars>
          <dgm:bulletEnabled val="1"/>
        </dgm:presLayoutVars>
      </dgm:prSet>
      <dgm:spPr/>
    </dgm:pt>
  </dgm:ptLst>
  <dgm:cxnLst>
    <dgm:cxn modelId="{C41A3009-5CD0-4535-9D3C-AF1E6A3DC8F6}" type="presOf" srcId="{2E14FACA-E58C-43A7-BD47-7B22009400DF}" destId="{9918773F-4A5D-45FF-B7C2-BFD1C22A9343}" srcOrd="0" destOrd="0" presId="urn:microsoft.com/office/officeart/2005/8/layout/process3"/>
    <dgm:cxn modelId="{DDD27318-6A52-47C7-A54C-56B9A07B9E47}" srcId="{3915B093-F4FC-429D-A5C7-91FB2B86F067}" destId="{5EBD846C-9ADE-4010-89CC-37574EDB1ADF}" srcOrd="2" destOrd="0" parTransId="{59AD4A52-42E5-458D-8624-D0B8C86AE04C}" sibTransId="{616B2BE0-F203-4AB5-9132-0222281DD0B2}"/>
    <dgm:cxn modelId="{2221011F-4DE6-46D1-AB9F-82B59E4BB5E4}" type="presOf" srcId="{8555AF0B-D7F7-4103-9E06-D22A873DF252}" destId="{D42AD493-D081-4404-AEFE-F056A8EB8991}" srcOrd="0" destOrd="1" presId="urn:microsoft.com/office/officeart/2005/8/layout/process3"/>
    <dgm:cxn modelId="{EB656E28-9CBD-49D7-B40C-DEDA9FCE939A}" srcId="{4E7A7BD1-2669-4DAD-84D8-BB18ED0617FB}" destId="{3915B093-F4FC-429D-A5C7-91FB2B86F067}" srcOrd="1" destOrd="0" parTransId="{C0D3B505-ED2E-442E-A6BF-4790C1540D7E}" sibTransId="{43AC0386-2EA6-4CD0-9019-70802BAD4546}"/>
    <dgm:cxn modelId="{7522D035-928F-477E-93DF-AE153E2EA039}" type="presOf" srcId="{5EBD846C-9ADE-4010-89CC-37574EDB1ADF}" destId="{9918773F-4A5D-45FF-B7C2-BFD1C22A9343}" srcOrd="0" destOrd="2" presId="urn:microsoft.com/office/officeart/2005/8/layout/process3"/>
    <dgm:cxn modelId="{E8957C36-5315-4A13-8DF1-1659020D746B}" srcId="{4E7A7BD1-2669-4DAD-84D8-BB18ED0617FB}" destId="{E806BF80-08AC-41F4-93E9-AF09A6DD74DB}" srcOrd="0" destOrd="0" parTransId="{8B909DC2-8EC0-461B-A7E6-3258FB32B0A3}" sibTransId="{B09CE747-DB44-4FB4-B3DB-C29B1AA522C2}"/>
    <dgm:cxn modelId="{0362FE3F-7ECE-422B-B8E4-63B85A2D22FF}" type="presOf" srcId="{36129A6E-1385-4742-981E-A970E51AD31A}" destId="{D42AD493-D081-4404-AEFE-F056A8EB8991}" srcOrd="0" destOrd="2" presId="urn:microsoft.com/office/officeart/2005/8/layout/process3"/>
    <dgm:cxn modelId="{DE5C6467-3F7C-4325-893F-9091022A9CE3}" srcId="{E806BF80-08AC-41F4-93E9-AF09A6DD74DB}" destId="{8555AF0B-D7F7-4103-9E06-D22A873DF252}" srcOrd="1" destOrd="0" parTransId="{311C11AB-BA40-49E9-9A9A-8BE88A88723B}" sibTransId="{44C50C1C-1CC1-4E00-BB55-57B54145F78C}"/>
    <dgm:cxn modelId="{7AAB669C-1575-40AF-81CC-8F8D664AF5DE}" srcId="{E806BF80-08AC-41F4-93E9-AF09A6DD74DB}" destId="{7018BFCE-3151-4EFD-A920-CD6FF3DEB587}" srcOrd="0" destOrd="0" parTransId="{9578FC2F-F2D1-4B14-A30F-B4E9108E83ED}" sibTransId="{206A5549-230A-4412-8F54-47EC706AE619}"/>
    <dgm:cxn modelId="{6131749C-3066-45C3-9B93-287D7221DC9F}" type="presOf" srcId="{E806BF80-08AC-41F4-93E9-AF09A6DD74DB}" destId="{34951870-DE78-464D-AF97-F751AB1ABDFE}" srcOrd="0" destOrd="0" presId="urn:microsoft.com/office/officeart/2005/8/layout/process3"/>
    <dgm:cxn modelId="{5A7AA7A1-2BDD-4FCB-B8C2-C79BE83ECA3E}" type="presOf" srcId="{E806BF80-08AC-41F4-93E9-AF09A6DD74DB}" destId="{30450EA1-9FBD-453D-ACC2-A772BA55C55C}" srcOrd="1" destOrd="0" presId="urn:microsoft.com/office/officeart/2005/8/layout/process3"/>
    <dgm:cxn modelId="{DAC2B1A2-C3BD-4B03-AF2D-898083CC0AF0}" type="presOf" srcId="{4E7A7BD1-2669-4DAD-84D8-BB18ED0617FB}" destId="{C77056A4-1647-4D60-A607-D16377620FE5}" srcOrd="0" destOrd="0" presId="urn:microsoft.com/office/officeart/2005/8/layout/process3"/>
    <dgm:cxn modelId="{F637ADAD-2A1E-480B-9902-D62D356714BF}" type="presOf" srcId="{3915B093-F4FC-429D-A5C7-91FB2B86F067}" destId="{8A3E37A2-0E8D-4D1B-9DE7-5232BB4AB5D6}" srcOrd="0" destOrd="0" presId="urn:microsoft.com/office/officeart/2005/8/layout/process3"/>
    <dgm:cxn modelId="{2F1521AE-5B59-4311-8D29-36DA113BC6E8}" srcId="{3915B093-F4FC-429D-A5C7-91FB2B86F067}" destId="{E5D87DDB-A63C-44C5-86B5-0B58887442E5}" srcOrd="1" destOrd="0" parTransId="{110FCF46-E0F9-47AF-9D36-3D0ABDEA59DA}" sibTransId="{D459E8EC-4F5D-47B3-8812-B841F44A422D}"/>
    <dgm:cxn modelId="{801338B6-11E8-4305-9146-358FFC5DFBBA}" type="presOf" srcId="{B09CE747-DB44-4FB4-B3DB-C29B1AA522C2}" destId="{4E3C75DC-88B3-469D-975A-B989B6525DF2}" srcOrd="1" destOrd="0" presId="urn:microsoft.com/office/officeart/2005/8/layout/process3"/>
    <dgm:cxn modelId="{5C6FA0C8-97D7-469E-8F5F-DF5D99E9CD85}" type="presOf" srcId="{E5D87DDB-A63C-44C5-86B5-0B58887442E5}" destId="{9918773F-4A5D-45FF-B7C2-BFD1C22A9343}" srcOrd="0" destOrd="1" presId="urn:microsoft.com/office/officeart/2005/8/layout/process3"/>
    <dgm:cxn modelId="{82FCB4CF-FA51-4B9C-B2FC-9CFB9FCC527F}" type="presOf" srcId="{7018BFCE-3151-4EFD-A920-CD6FF3DEB587}" destId="{D42AD493-D081-4404-AEFE-F056A8EB8991}" srcOrd="0" destOrd="0" presId="urn:microsoft.com/office/officeart/2005/8/layout/process3"/>
    <dgm:cxn modelId="{C88789D8-E87A-43FC-9E4F-56E9E7AEDC67}" srcId="{3915B093-F4FC-429D-A5C7-91FB2B86F067}" destId="{2E14FACA-E58C-43A7-BD47-7B22009400DF}" srcOrd="0" destOrd="0" parTransId="{B7103FD7-EE87-4028-97E2-B8399C47031C}" sibTransId="{9755DFE8-4A95-432C-83B3-8B51978DEFE1}"/>
    <dgm:cxn modelId="{203AC8DA-5F07-4D93-A97A-837058F9C18D}" type="presOf" srcId="{B09CE747-DB44-4FB4-B3DB-C29B1AA522C2}" destId="{E82F2CE7-4C1A-497F-BB88-DEF090CAF98F}" srcOrd="0" destOrd="0" presId="urn:microsoft.com/office/officeart/2005/8/layout/process3"/>
    <dgm:cxn modelId="{B17149EC-38ED-4787-BE3C-3894C15E91E5}" srcId="{E806BF80-08AC-41F4-93E9-AF09A6DD74DB}" destId="{36129A6E-1385-4742-981E-A970E51AD31A}" srcOrd="2" destOrd="0" parTransId="{26156EDA-4933-4CF1-B820-11D2523A418C}" sibTransId="{1CEDCFA7-C09B-4F8E-A700-DFE9B5C07BCC}"/>
    <dgm:cxn modelId="{EE460BF7-E0D7-4FFD-A4C7-AA4A1D6EDA42}" type="presOf" srcId="{3915B093-F4FC-429D-A5C7-91FB2B86F067}" destId="{40E1B13B-2A28-4B8C-A623-EDD296FBB21D}" srcOrd="1" destOrd="0" presId="urn:microsoft.com/office/officeart/2005/8/layout/process3"/>
    <dgm:cxn modelId="{3659A763-E99A-480C-8345-C6DE26C6A656}" type="presParOf" srcId="{C77056A4-1647-4D60-A607-D16377620FE5}" destId="{093D2648-55EB-41C4-8CC3-575E6D5BCA2C}" srcOrd="0" destOrd="0" presId="urn:microsoft.com/office/officeart/2005/8/layout/process3"/>
    <dgm:cxn modelId="{6DB3032F-4C30-43D6-8FD3-798286F9F18B}" type="presParOf" srcId="{093D2648-55EB-41C4-8CC3-575E6D5BCA2C}" destId="{34951870-DE78-464D-AF97-F751AB1ABDFE}" srcOrd="0" destOrd="0" presId="urn:microsoft.com/office/officeart/2005/8/layout/process3"/>
    <dgm:cxn modelId="{E1268FC9-66EB-42F5-9D75-A48207395268}" type="presParOf" srcId="{093D2648-55EB-41C4-8CC3-575E6D5BCA2C}" destId="{30450EA1-9FBD-453D-ACC2-A772BA55C55C}" srcOrd="1" destOrd="0" presId="urn:microsoft.com/office/officeart/2005/8/layout/process3"/>
    <dgm:cxn modelId="{F12CE137-3478-46D0-A43B-1D5B6B182920}" type="presParOf" srcId="{093D2648-55EB-41C4-8CC3-575E6D5BCA2C}" destId="{D42AD493-D081-4404-AEFE-F056A8EB8991}" srcOrd="2" destOrd="0" presId="urn:microsoft.com/office/officeart/2005/8/layout/process3"/>
    <dgm:cxn modelId="{85B7363F-503C-402D-A3B8-098B2F0CF3F9}" type="presParOf" srcId="{C77056A4-1647-4D60-A607-D16377620FE5}" destId="{E82F2CE7-4C1A-497F-BB88-DEF090CAF98F}" srcOrd="1" destOrd="0" presId="urn:microsoft.com/office/officeart/2005/8/layout/process3"/>
    <dgm:cxn modelId="{243C8780-23A4-4246-8BBE-C0E19B5C7567}" type="presParOf" srcId="{E82F2CE7-4C1A-497F-BB88-DEF090CAF98F}" destId="{4E3C75DC-88B3-469D-975A-B989B6525DF2}" srcOrd="0" destOrd="0" presId="urn:microsoft.com/office/officeart/2005/8/layout/process3"/>
    <dgm:cxn modelId="{22C8393A-083B-43E4-8433-F54ED8185BA6}" type="presParOf" srcId="{C77056A4-1647-4D60-A607-D16377620FE5}" destId="{6C632361-738A-4773-8A86-22BEB0772521}" srcOrd="2" destOrd="0" presId="urn:microsoft.com/office/officeart/2005/8/layout/process3"/>
    <dgm:cxn modelId="{44FA8CC2-8394-4550-926E-749D28856412}" type="presParOf" srcId="{6C632361-738A-4773-8A86-22BEB0772521}" destId="{8A3E37A2-0E8D-4D1B-9DE7-5232BB4AB5D6}" srcOrd="0" destOrd="0" presId="urn:microsoft.com/office/officeart/2005/8/layout/process3"/>
    <dgm:cxn modelId="{9F4392C4-C04F-4F5A-99EF-287BD7DE02C4}" type="presParOf" srcId="{6C632361-738A-4773-8A86-22BEB0772521}" destId="{40E1B13B-2A28-4B8C-A623-EDD296FBB21D}" srcOrd="1" destOrd="0" presId="urn:microsoft.com/office/officeart/2005/8/layout/process3"/>
    <dgm:cxn modelId="{D1AC0418-6303-4753-A028-52CDE5D56C6D}" type="presParOf" srcId="{6C632361-738A-4773-8A86-22BEB0772521}" destId="{9918773F-4A5D-45FF-B7C2-BFD1C22A9343}"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222192-D453-4B4A-843F-4A72AC6E16A2}">
      <dsp:nvSpPr>
        <dsp:cNvPr id="0" name=""/>
        <dsp:cNvSpPr/>
      </dsp:nvSpPr>
      <dsp:spPr>
        <a:xfrm>
          <a:off x="0" y="363065"/>
          <a:ext cx="9601200" cy="4284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6C5EB5-E1AF-41B2-859B-EEED895DEA30}">
      <dsp:nvSpPr>
        <dsp:cNvPr id="0" name=""/>
        <dsp:cNvSpPr/>
      </dsp:nvSpPr>
      <dsp:spPr>
        <a:xfrm>
          <a:off x="457088" y="24218"/>
          <a:ext cx="9141758" cy="58976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600200">
            <a:lnSpc>
              <a:spcPct val="90000"/>
            </a:lnSpc>
            <a:spcBef>
              <a:spcPct val="0"/>
            </a:spcBef>
            <a:spcAft>
              <a:spcPct val="35000"/>
            </a:spcAft>
            <a:buNone/>
          </a:pPr>
          <a:r>
            <a:rPr lang="en-US" sz="3600" kern="1200" dirty="0">
              <a:latin typeface="+mj-lt"/>
            </a:rPr>
            <a:t>What is Financial Aid</a:t>
          </a:r>
        </a:p>
      </dsp:txBody>
      <dsp:txXfrm>
        <a:off x="485878" y="53008"/>
        <a:ext cx="9084178" cy="532187"/>
      </dsp:txXfrm>
    </dsp:sp>
    <dsp:sp modelId="{BA767C3B-ED79-4A13-B381-6959C8060EA9}">
      <dsp:nvSpPr>
        <dsp:cNvPr id="0" name=""/>
        <dsp:cNvSpPr/>
      </dsp:nvSpPr>
      <dsp:spPr>
        <a:xfrm>
          <a:off x="0" y="1134185"/>
          <a:ext cx="9601200" cy="4284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56B228F-A259-403F-BDF6-CAD983D1A0E2}">
      <dsp:nvSpPr>
        <dsp:cNvPr id="0" name=""/>
        <dsp:cNvSpPr/>
      </dsp:nvSpPr>
      <dsp:spPr>
        <a:xfrm>
          <a:off x="435852" y="866032"/>
          <a:ext cx="9141758" cy="50184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600200">
            <a:lnSpc>
              <a:spcPct val="90000"/>
            </a:lnSpc>
            <a:spcBef>
              <a:spcPct val="0"/>
            </a:spcBef>
            <a:spcAft>
              <a:spcPct val="35000"/>
            </a:spcAft>
            <a:buNone/>
          </a:pPr>
          <a:r>
            <a:rPr lang="en-US" sz="3600" kern="1200" dirty="0">
              <a:latin typeface="+mj-lt"/>
            </a:rPr>
            <a:t>Types of Financial Aid </a:t>
          </a:r>
        </a:p>
      </dsp:txBody>
      <dsp:txXfrm>
        <a:off x="460350" y="890530"/>
        <a:ext cx="9092762" cy="452844"/>
      </dsp:txXfrm>
    </dsp:sp>
    <dsp:sp modelId="{B6B79D58-ACC4-43B5-B7D4-CB5B36EF88AD}">
      <dsp:nvSpPr>
        <dsp:cNvPr id="0" name=""/>
        <dsp:cNvSpPr/>
      </dsp:nvSpPr>
      <dsp:spPr>
        <a:xfrm>
          <a:off x="0" y="1905305"/>
          <a:ext cx="9601200" cy="4284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455F3-8D55-4B90-9AE0-9D7BAA7022B6}">
      <dsp:nvSpPr>
        <dsp:cNvPr id="0" name=""/>
        <dsp:cNvSpPr/>
      </dsp:nvSpPr>
      <dsp:spPr>
        <a:xfrm>
          <a:off x="457088" y="1654385"/>
          <a:ext cx="9141758" cy="50184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600200">
            <a:lnSpc>
              <a:spcPct val="90000"/>
            </a:lnSpc>
            <a:spcBef>
              <a:spcPct val="0"/>
            </a:spcBef>
            <a:spcAft>
              <a:spcPct val="35000"/>
            </a:spcAft>
            <a:buNone/>
          </a:pPr>
          <a:r>
            <a:rPr lang="en-US" sz="3600" kern="1200" dirty="0">
              <a:latin typeface="+mj-lt"/>
            </a:rPr>
            <a:t>When You Should Apply for Financial Aid</a:t>
          </a:r>
        </a:p>
      </dsp:txBody>
      <dsp:txXfrm>
        <a:off x="481586" y="1678883"/>
        <a:ext cx="9092762" cy="452844"/>
      </dsp:txXfrm>
    </dsp:sp>
    <dsp:sp modelId="{FC0D32A5-9D58-490E-A8D1-BE503E2D5B18}">
      <dsp:nvSpPr>
        <dsp:cNvPr id="0" name=""/>
        <dsp:cNvSpPr/>
      </dsp:nvSpPr>
      <dsp:spPr>
        <a:xfrm>
          <a:off x="0" y="2779207"/>
          <a:ext cx="9601200" cy="4284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9FDEF8-D7CD-427A-B285-EE879B8EA4D2}">
      <dsp:nvSpPr>
        <dsp:cNvPr id="0" name=""/>
        <dsp:cNvSpPr/>
      </dsp:nvSpPr>
      <dsp:spPr>
        <a:xfrm>
          <a:off x="457088" y="2425505"/>
          <a:ext cx="9141758" cy="60462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600200">
            <a:lnSpc>
              <a:spcPct val="90000"/>
            </a:lnSpc>
            <a:spcBef>
              <a:spcPct val="0"/>
            </a:spcBef>
            <a:spcAft>
              <a:spcPct val="35000"/>
            </a:spcAft>
            <a:buNone/>
          </a:pPr>
          <a:r>
            <a:rPr lang="en-US" sz="3600" kern="1200" dirty="0">
              <a:latin typeface="+mj-lt"/>
            </a:rPr>
            <a:t>How to Apply for Financial Aid</a:t>
          </a:r>
        </a:p>
      </dsp:txBody>
      <dsp:txXfrm>
        <a:off x="486603" y="2455020"/>
        <a:ext cx="9082728" cy="545591"/>
      </dsp:txXfrm>
    </dsp:sp>
    <dsp:sp modelId="{9103310C-A17C-4A08-8DB7-1B66388FB090}">
      <dsp:nvSpPr>
        <dsp:cNvPr id="0" name=""/>
        <dsp:cNvSpPr/>
      </dsp:nvSpPr>
      <dsp:spPr>
        <a:xfrm>
          <a:off x="0" y="3550327"/>
          <a:ext cx="9601200" cy="428400"/>
        </a:xfrm>
        <a:prstGeom prst="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5D3DDC-7096-4D3E-B5C0-86E4F1E8709D}">
      <dsp:nvSpPr>
        <dsp:cNvPr id="0" name=""/>
        <dsp:cNvSpPr/>
      </dsp:nvSpPr>
      <dsp:spPr>
        <a:xfrm>
          <a:off x="457088" y="3299407"/>
          <a:ext cx="9141758" cy="50184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600200">
            <a:lnSpc>
              <a:spcPct val="90000"/>
            </a:lnSpc>
            <a:spcBef>
              <a:spcPct val="0"/>
            </a:spcBef>
            <a:spcAft>
              <a:spcPct val="35000"/>
            </a:spcAft>
            <a:buNone/>
          </a:pPr>
          <a:r>
            <a:rPr lang="en-US" sz="3600" kern="1200" dirty="0">
              <a:latin typeface="+mj-lt"/>
            </a:rPr>
            <a:t>Scholarships</a:t>
          </a:r>
        </a:p>
      </dsp:txBody>
      <dsp:txXfrm>
        <a:off x="481586" y="3323905"/>
        <a:ext cx="9092762" cy="452844"/>
      </dsp:txXfrm>
    </dsp:sp>
    <dsp:sp modelId="{5BF31192-ADF6-4C7F-8BE7-8C39CE49B8CC}">
      <dsp:nvSpPr>
        <dsp:cNvPr id="0" name=""/>
        <dsp:cNvSpPr/>
      </dsp:nvSpPr>
      <dsp:spPr>
        <a:xfrm>
          <a:off x="0" y="4321447"/>
          <a:ext cx="9601200" cy="4284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F9DEFC-BC34-421A-9E55-C5F4E20E7F0D}">
      <dsp:nvSpPr>
        <dsp:cNvPr id="0" name=""/>
        <dsp:cNvSpPr/>
      </dsp:nvSpPr>
      <dsp:spPr>
        <a:xfrm>
          <a:off x="457088" y="4070527"/>
          <a:ext cx="9141758" cy="5018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600200">
            <a:lnSpc>
              <a:spcPct val="90000"/>
            </a:lnSpc>
            <a:spcBef>
              <a:spcPct val="0"/>
            </a:spcBef>
            <a:spcAft>
              <a:spcPct val="35000"/>
            </a:spcAft>
            <a:buNone/>
          </a:pPr>
          <a:r>
            <a:rPr lang="en-US" sz="3600" kern="1200" dirty="0">
              <a:latin typeface="+mj-lt"/>
            </a:rPr>
            <a:t>Help and Resources</a:t>
          </a:r>
        </a:p>
      </dsp:txBody>
      <dsp:txXfrm>
        <a:off x="481586" y="4095025"/>
        <a:ext cx="9092762" cy="45284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A2DB17-2112-43FC-A132-9388CC70958C}">
      <dsp:nvSpPr>
        <dsp:cNvPr id="0" name=""/>
        <dsp:cNvSpPr/>
      </dsp:nvSpPr>
      <dsp:spPr>
        <a:xfrm>
          <a:off x="0" y="0"/>
          <a:ext cx="7480511" cy="2092021"/>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1" kern="1200" dirty="0">
              <a:latin typeface="Tw Cen MT" panose="020B0602020104020603" pitchFamily="34" charset="0"/>
            </a:rPr>
            <a:t>Combines</a:t>
          </a:r>
          <a:r>
            <a:rPr lang="en-US" sz="2200" kern="1200" dirty="0">
              <a:latin typeface="Tw Cen MT" panose="020B0602020104020603" pitchFamily="34" charset="0"/>
            </a:rPr>
            <a:t> with other state financial aid to cover the average cost of tuition (at comparable public college rates), some fees, and a small book allowance = </a:t>
          </a:r>
          <a:r>
            <a:rPr lang="en-US" sz="2200" b="1" kern="1200" dirty="0">
              <a:latin typeface="Tw Cen MT" panose="020B0602020104020603" pitchFamily="34" charset="0"/>
            </a:rPr>
            <a:t>commitment. </a:t>
          </a:r>
          <a:endParaRPr lang="en-US" sz="2200" kern="1200" dirty="0">
            <a:latin typeface="Tw Cen MT" panose="020B0602020104020603" pitchFamily="34" charset="0"/>
          </a:endParaRPr>
        </a:p>
      </dsp:txBody>
      <dsp:txXfrm>
        <a:off x="1705304" y="0"/>
        <a:ext cx="5775206" cy="2092021"/>
      </dsp:txXfrm>
    </dsp:sp>
    <dsp:sp modelId="{3C518B8F-484F-482F-8D40-B5CAB51E65FE}">
      <dsp:nvSpPr>
        <dsp:cNvPr id="0" name=""/>
        <dsp:cNvSpPr/>
      </dsp:nvSpPr>
      <dsp:spPr>
        <a:xfrm>
          <a:off x="209202" y="209202"/>
          <a:ext cx="1496102" cy="1673617"/>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0BB8750-7AEB-4CEE-8D21-AADC1C207532}">
      <dsp:nvSpPr>
        <dsp:cNvPr id="0" name=""/>
        <dsp:cNvSpPr/>
      </dsp:nvSpPr>
      <dsp:spPr>
        <a:xfrm>
          <a:off x="0" y="2301223"/>
          <a:ext cx="7480511" cy="2092021"/>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latin typeface="Tw Cen MT" panose="020B0602020104020603" pitchFamily="34" charset="0"/>
            </a:rPr>
            <a:t>Can be used at over </a:t>
          </a:r>
          <a:r>
            <a:rPr lang="en-US" sz="2200" b="1" kern="1200" dirty="0">
              <a:latin typeface="Tw Cen MT" panose="020B0602020104020603" pitchFamily="34" charset="0"/>
            </a:rPr>
            <a:t>65</a:t>
          </a:r>
          <a:r>
            <a:rPr lang="en-US" sz="2200" kern="1200" dirty="0">
              <a:latin typeface="Tw Cen MT" panose="020B0602020104020603" pitchFamily="34" charset="0"/>
            </a:rPr>
            <a:t> two- and four-year public and private colleges and universities. </a:t>
          </a:r>
        </a:p>
      </dsp:txBody>
      <dsp:txXfrm>
        <a:off x="1705304" y="2301223"/>
        <a:ext cx="5775206" cy="2092021"/>
      </dsp:txXfrm>
    </dsp:sp>
    <dsp:sp modelId="{284AE6AC-588C-41F5-9507-A1575D957F90}">
      <dsp:nvSpPr>
        <dsp:cNvPr id="0" name=""/>
        <dsp:cNvSpPr/>
      </dsp:nvSpPr>
      <dsp:spPr>
        <a:xfrm>
          <a:off x="209202" y="2510425"/>
          <a:ext cx="1496102" cy="1673617"/>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E5D955-CF20-4F39-848A-ABA2A4ECD4D7}">
      <dsp:nvSpPr>
        <dsp:cNvPr id="0" name=""/>
        <dsp:cNvSpPr/>
      </dsp:nvSpPr>
      <dsp:spPr>
        <a:xfrm>
          <a:off x="274392" y="2833"/>
          <a:ext cx="5740889" cy="134884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Tw Cen MT" panose="020B0602020104020603" pitchFamily="34" charset="0"/>
            </a:rPr>
            <a:t>This tool calculates potential awards from the Washington College Grant and Pell Grant programs. </a:t>
          </a:r>
        </a:p>
      </dsp:txBody>
      <dsp:txXfrm>
        <a:off x="274392" y="2833"/>
        <a:ext cx="5740889" cy="1348840"/>
      </dsp:txXfrm>
    </dsp:sp>
    <dsp:sp modelId="{5AE5D674-42EE-4AD5-974A-CA97D275C5DE}">
      <dsp:nvSpPr>
        <dsp:cNvPr id="0" name=""/>
        <dsp:cNvSpPr/>
      </dsp:nvSpPr>
      <dsp:spPr>
        <a:xfrm>
          <a:off x="222439" y="1576480"/>
          <a:ext cx="5844795" cy="1514289"/>
        </a:xfrm>
        <a:prstGeom prst="rect">
          <a:avLst/>
        </a:prstGeom>
        <a:solidFill>
          <a:schemeClr val="accent4">
            <a:hueOff val="-6371795"/>
            <a:satOff val="33689"/>
            <a:lumOff val="-95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Tw Cen MT" panose="020B0602020104020603" pitchFamily="34" charset="0"/>
            </a:rPr>
            <a:t>There may be more aid available to you from other state and federal programs, private scholarships, or directly from the college you attend. </a:t>
          </a:r>
        </a:p>
      </dsp:txBody>
      <dsp:txXfrm>
        <a:off x="222439" y="1576480"/>
        <a:ext cx="5844795" cy="1514289"/>
      </dsp:txXfrm>
    </dsp:sp>
    <dsp:sp modelId="{CE8A557C-7379-4A09-9157-6CB85F90B4AD}">
      <dsp:nvSpPr>
        <dsp:cNvPr id="0" name=""/>
        <dsp:cNvSpPr/>
      </dsp:nvSpPr>
      <dsp:spPr>
        <a:xfrm>
          <a:off x="238558" y="3315576"/>
          <a:ext cx="5812558" cy="1348840"/>
        </a:xfrm>
        <a:prstGeom prst="rect">
          <a:avLst/>
        </a:prstGeom>
        <a:solidFill>
          <a:schemeClr val="accent4">
            <a:hueOff val="-12743589"/>
            <a:satOff val="67377"/>
            <a:lumOff val="-190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i="0" kern="1200" dirty="0">
              <a:latin typeface="Tw Cen MT" panose="020B0602020104020603" pitchFamily="34" charset="0"/>
            </a:rPr>
            <a:t>The only way to know for sure how much financial aid you can receive is to complete a FAFSA or WASFA financial aid application</a:t>
          </a:r>
          <a:endParaRPr lang="en-US" sz="2400" kern="1200" dirty="0">
            <a:latin typeface="Tw Cen MT" panose="020B0602020104020603" pitchFamily="34" charset="0"/>
          </a:endParaRPr>
        </a:p>
      </dsp:txBody>
      <dsp:txXfrm>
        <a:off x="238558" y="3315576"/>
        <a:ext cx="5812558" cy="13488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FE61BE-0847-4FDE-8AB8-A750B2543EE6}">
      <dsp:nvSpPr>
        <dsp:cNvPr id="0" name=""/>
        <dsp:cNvSpPr/>
      </dsp:nvSpPr>
      <dsp:spPr>
        <a:xfrm>
          <a:off x="50" y="25454"/>
          <a:ext cx="4795254" cy="1209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312928" tIns="178816" rIns="312928" bIns="178816" numCol="1" spcCol="1270" anchor="ctr" anchorCtr="0">
          <a:noAutofit/>
        </a:bodyPr>
        <a:lstStyle/>
        <a:p>
          <a:pPr marL="0" lvl="0" indent="0" algn="ctr" defTabSz="1955800">
            <a:lnSpc>
              <a:spcPct val="90000"/>
            </a:lnSpc>
            <a:spcBef>
              <a:spcPct val="0"/>
            </a:spcBef>
            <a:spcAft>
              <a:spcPct val="35000"/>
            </a:spcAft>
            <a:buNone/>
          </a:pPr>
          <a:r>
            <a:rPr lang="en-US" sz="4400" kern="1200" dirty="0">
              <a:latin typeface="+mj-lt"/>
            </a:rPr>
            <a:t>FAFSA</a:t>
          </a:r>
        </a:p>
      </dsp:txBody>
      <dsp:txXfrm>
        <a:off x="50" y="25454"/>
        <a:ext cx="4795254" cy="1209600"/>
      </dsp:txXfrm>
    </dsp:sp>
    <dsp:sp modelId="{14AEABD4-9E14-47D3-B6C5-BC6867EE1DB7}">
      <dsp:nvSpPr>
        <dsp:cNvPr id="0" name=""/>
        <dsp:cNvSpPr/>
      </dsp:nvSpPr>
      <dsp:spPr>
        <a:xfrm>
          <a:off x="50" y="1235055"/>
          <a:ext cx="4795254" cy="184464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n-US" sz="2800" kern="1200" dirty="0">
              <a:latin typeface="+mj-lt"/>
            </a:rPr>
            <a:t>Free Application for Federal Student Aid</a:t>
          </a:r>
        </a:p>
        <a:p>
          <a:pPr marL="285750" lvl="1" indent="-285750" algn="l" defTabSz="1244600">
            <a:lnSpc>
              <a:spcPct val="90000"/>
            </a:lnSpc>
            <a:spcBef>
              <a:spcPct val="0"/>
            </a:spcBef>
            <a:spcAft>
              <a:spcPct val="15000"/>
            </a:spcAft>
            <a:buChar char="•"/>
          </a:pPr>
          <a:r>
            <a:rPr lang="en-US" sz="2800" kern="1200" dirty="0">
              <a:latin typeface="+mj-lt"/>
            </a:rPr>
            <a:t>FAFSA.gov</a:t>
          </a:r>
        </a:p>
      </dsp:txBody>
      <dsp:txXfrm>
        <a:off x="50" y="1235055"/>
        <a:ext cx="4795254" cy="1844640"/>
      </dsp:txXfrm>
    </dsp:sp>
    <dsp:sp modelId="{E8D16B93-82BB-4417-9D6A-BE7708DD5E5B}">
      <dsp:nvSpPr>
        <dsp:cNvPr id="0" name=""/>
        <dsp:cNvSpPr/>
      </dsp:nvSpPr>
      <dsp:spPr>
        <a:xfrm>
          <a:off x="5466639" y="25454"/>
          <a:ext cx="4795254" cy="1209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312928" tIns="178816" rIns="312928" bIns="178816" numCol="1" spcCol="1270" anchor="ctr" anchorCtr="0">
          <a:noAutofit/>
        </a:bodyPr>
        <a:lstStyle/>
        <a:p>
          <a:pPr marL="0" lvl="0" indent="0" algn="ctr" defTabSz="1955800">
            <a:lnSpc>
              <a:spcPct val="90000"/>
            </a:lnSpc>
            <a:spcBef>
              <a:spcPct val="0"/>
            </a:spcBef>
            <a:spcAft>
              <a:spcPct val="35000"/>
            </a:spcAft>
            <a:buNone/>
          </a:pPr>
          <a:r>
            <a:rPr lang="en-US" sz="4400" kern="1200" dirty="0">
              <a:latin typeface="+mj-lt"/>
            </a:rPr>
            <a:t>WASFA</a:t>
          </a:r>
        </a:p>
      </dsp:txBody>
      <dsp:txXfrm>
        <a:off x="5466639" y="25454"/>
        <a:ext cx="4795254" cy="1209600"/>
      </dsp:txXfrm>
    </dsp:sp>
    <dsp:sp modelId="{8E0F0E90-230F-4D92-B12C-4BB0B3A64D97}">
      <dsp:nvSpPr>
        <dsp:cNvPr id="0" name=""/>
        <dsp:cNvSpPr/>
      </dsp:nvSpPr>
      <dsp:spPr>
        <a:xfrm>
          <a:off x="5466639" y="1235055"/>
          <a:ext cx="4795254" cy="184464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n-US" sz="2800" kern="1200" dirty="0">
              <a:latin typeface="+mj-lt"/>
            </a:rPr>
            <a:t>Washington Application for State Financial Aid</a:t>
          </a:r>
        </a:p>
        <a:p>
          <a:pPr marL="285750" lvl="1" indent="-285750" algn="l" defTabSz="1244600">
            <a:lnSpc>
              <a:spcPct val="90000"/>
            </a:lnSpc>
            <a:spcBef>
              <a:spcPct val="0"/>
            </a:spcBef>
            <a:spcAft>
              <a:spcPct val="15000"/>
            </a:spcAft>
            <a:buChar char="•"/>
          </a:pPr>
          <a:r>
            <a:rPr lang="en-US" sz="2800" kern="1200" dirty="0">
              <a:latin typeface="+mj-lt"/>
            </a:rPr>
            <a:t>wsac.wa.gov/WASFA</a:t>
          </a:r>
        </a:p>
      </dsp:txBody>
      <dsp:txXfrm>
        <a:off x="5466639" y="1235055"/>
        <a:ext cx="4795254" cy="184464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585F1D-8AAD-459C-924B-3BAA73EA1E3C}">
      <dsp:nvSpPr>
        <dsp:cNvPr id="0" name=""/>
        <dsp:cNvSpPr/>
      </dsp:nvSpPr>
      <dsp:spPr>
        <a:xfrm>
          <a:off x="0" y="0"/>
          <a:ext cx="10515600" cy="1958102"/>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F3C3A0-D6C6-4E02-8157-5788C785642A}">
      <dsp:nvSpPr>
        <dsp:cNvPr id="0" name=""/>
        <dsp:cNvSpPr/>
      </dsp:nvSpPr>
      <dsp:spPr>
        <a:xfrm>
          <a:off x="316674" y="261080"/>
          <a:ext cx="4705833" cy="1435941"/>
        </a:xfrm>
        <a:prstGeom prst="roundRect">
          <a:avLst>
            <a:gd name="adj" fmla="val 10000"/>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56" t="1298" r="-227" b="-47298"/>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FECEBC-F605-45F1-8562-1778B72C7A20}">
      <dsp:nvSpPr>
        <dsp:cNvPr id="0" name=""/>
        <dsp:cNvSpPr/>
      </dsp:nvSpPr>
      <dsp:spPr>
        <a:xfrm rot="10800000">
          <a:off x="316674" y="1958102"/>
          <a:ext cx="4705833" cy="2393235"/>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608" tIns="419608" rIns="419608" bIns="419608" numCol="1" spcCol="1270" anchor="t" anchorCtr="0">
          <a:noAutofit/>
        </a:bodyPr>
        <a:lstStyle/>
        <a:p>
          <a:pPr marL="0" lvl="0" indent="0" algn="ctr" defTabSz="2622550">
            <a:lnSpc>
              <a:spcPct val="90000"/>
            </a:lnSpc>
            <a:spcBef>
              <a:spcPct val="0"/>
            </a:spcBef>
            <a:spcAft>
              <a:spcPct val="35000"/>
            </a:spcAft>
            <a:buNone/>
          </a:pPr>
          <a:r>
            <a:rPr lang="en-US" sz="5900" kern="1200" dirty="0">
              <a:latin typeface="+mj-lt"/>
            </a:rPr>
            <a:t>Website</a:t>
          </a:r>
        </a:p>
      </dsp:txBody>
      <dsp:txXfrm rot="10800000">
        <a:off x="390274" y="1958102"/>
        <a:ext cx="4558633" cy="2319635"/>
      </dsp:txXfrm>
    </dsp:sp>
    <dsp:sp modelId="{D0DD52E7-C351-4BC5-B502-5A5DBDC65451}">
      <dsp:nvSpPr>
        <dsp:cNvPr id="0" name=""/>
        <dsp:cNvSpPr/>
      </dsp:nvSpPr>
      <dsp:spPr>
        <a:xfrm>
          <a:off x="5493091" y="261080"/>
          <a:ext cx="4705833" cy="1435941"/>
        </a:xfrm>
        <a:prstGeom prst="roundRect">
          <a:avLst>
            <a:gd name="adj" fmla="val 10000"/>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l="-259" t="-1623" r="259" b="-4237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3088773-29F6-4D2F-B998-42CE201C1D2D}">
      <dsp:nvSpPr>
        <dsp:cNvPr id="0" name=""/>
        <dsp:cNvSpPr/>
      </dsp:nvSpPr>
      <dsp:spPr>
        <a:xfrm rot="10800000">
          <a:off x="5493091" y="1958102"/>
          <a:ext cx="4705833" cy="2393235"/>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608" tIns="419608" rIns="419608" bIns="419608" numCol="1" spcCol="1270" anchor="t" anchorCtr="0">
          <a:noAutofit/>
        </a:bodyPr>
        <a:lstStyle/>
        <a:p>
          <a:pPr marL="0" lvl="0" indent="0" algn="ctr" defTabSz="2622550">
            <a:lnSpc>
              <a:spcPct val="90000"/>
            </a:lnSpc>
            <a:spcBef>
              <a:spcPct val="0"/>
            </a:spcBef>
            <a:spcAft>
              <a:spcPct val="35000"/>
            </a:spcAft>
            <a:buNone/>
          </a:pPr>
          <a:r>
            <a:rPr lang="en-US" sz="5900" kern="1200" dirty="0">
              <a:latin typeface="+mj-lt"/>
            </a:rPr>
            <a:t>Paper FAFSA</a:t>
          </a:r>
        </a:p>
      </dsp:txBody>
      <dsp:txXfrm rot="10800000">
        <a:off x="5566691" y="1958102"/>
        <a:ext cx="4558633" cy="231963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B2A747-5CF8-41AD-B261-6CE42AAD4C64}">
      <dsp:nvSpPr>
        <dsp:cNvPr id="0" name=""/>
        <dsp:cNvSpPr/>
      </dsp:nvSpPr>
      <dsp:spPr>
        <a:xfrm>
          <a:off x="0" y="0"/>
          <a:ext cx="10515600" cy="1958102"/>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027E5C-122A-4463-BBA3-D1B5A2DF49D7}">
      <dsp:nvSpPr>
        <dsp:cNvPr id="0" name=""/>
        <dsp:cNvSpPr/>
      </dsp:nvSpPr>
      <dsp:spPr>
        <a:xfrm>
          <a:off x="316674" y="261080"/>
          <a:ext cx="4705833" cy="1435941"/>
        </a:xfrm>
        <a:prstGeom prst="roundRect">
          <a:avLst>
            <a:gd name="adj" fmla="val 10000"/>
          </a:avLst>
        </a:prstGeom>
        <a:blipFill dpi="0" rotWithShape="1">
          <a:blip xmlns:r="http://schemas.openxmlformats.org/officeDocument/2006/relationships" r:embed="rId1"/>
          <a:srcRect/>
          <a:stretch>
            <a:fillRect l="-4045" t="838" r="45" b="-838"/>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D4746E-9B73-4D2F-8B01-2CA1E456E2CE}">
      <dsp:nvSpPr>
        <dsp:cNvPr id="0" name=""/>
        <dsp:cNvSpPr/>
      </dsp:nvSpPr>
      <dsp:spPr>
        <a:xfrm rot="10800000">
          <a:off x="316674" y="1958102"/>
          <a:ext cx="4705833" cy="2393235"/>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r>
            <a:rPr lang="en-US" sz="6500" kern="1200" dirty="0">
              <a:latin typeface="+mj-lt"/>
            </a:rPr>
            <a:t>English</a:t>
          </a:r>
        </a:p>
      </dsp:txBody>
      <dsp:txXfrm rot="10800000">
        <a:off x="390274" y="1958102"/>
        <a:ext cx="4558633" cy="2319635"/>
      </dsp:txXfrm>
    </dsp:sp>
    <dsp:sp modelId="{87713F6E-996C-4FD7-A770-BD4DC16F36BE}">
      <dsp:nvSpPr>
        <dsp:cNvPr id="0" name=""/>
        <dsp:cNvSpPr/>
      </dsp:nvSpPr>
      <dsp:spPr>
        <a:xfrm>
          <a:off x="5493091" y="261080"/>
          <a:ext cx="4705833" cy="1435941"/>
        </a:xfrm>
        <a:prstGeom prst="roundRect">
          <a:avLst>
            <a:gd name="adj" fmla="val 10000"/>
          </a:avLst>
        </a:prstGeom>
        <a:blipFill rotWithShape="1">
          <a:blip xmlns:r="http://schemas.openxmlformats.org/officeDocument/2006/relationships" r:embed="rId2"/>
          <a:srcRect/>
          <a:stretch>
            <a:fillRect t="-1000" b="-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366C5D4-1D35-44BE-ADB2-13E19657F39C}">
      <dsp:nvSpPr>
        <dsp:cNvPr id="0" name=""/>
        <dsp:cNvSpPr/>
      </dsp:nvSpPr>
      <dsp:spPr>
        <a:xfrm rot="10800000">
          <a:off x="5493091" y="1958102"/>
          <a:ext cx="4705833" cy="2393235"/>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2280" tIns="462280" rIns="462280" bIns="462280" numCol="1" spcCol="1270" anchor="t" anchorCtr="0">
          <a:noAutofit/>
        </a:bodyPr>
        <a:lstStyle/>
        <a:p>
          <a:pPr marL="0" lvl="0" indent="0" algn="ctr" defTabSz="2889250">
            <a:lnSpc>
              <a:spcPct val="90000"/>
            </a:lnSpc>
            <a:spcBef>
              <a:spcPct val="0"/>
            </a:spcBef>
            <a:spcAft>
              <a:spcPct val="35000"/>
            </a:spcAft>
            <a:buNone/>
          </a:pPr>
          <a:r>
            <a:rPr lang="en-US" sz="6500" kern="1200" dirty="0" err="1">
              <a:latin typeface="+mj-lt"/>
            </a:rPr>
            <a:t>Español</a:t>
          </a:r>
          <a:endParaRPr lang="en-US" sz="6500" kern="1200" dirty="0">
            <a:latin typeface="+mj-lt"/>
          </a:endParaRPr>
        </a:p>
      </dsp:txBody>
      <dsp:txXfrm rot="10800000">
        <a:off x="5566691" y="1958102"/>
        <a:ext cx="4558633" cy="231963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255428-F888-48CF-BF2C-6C25816FFFA9}">
      <dsp:nvSpPr>
        <dsp:cNvPr id="0" name=""/>
        <dsp:cNvSpPr/>
      </dsp:nvSpPr>
      <dsp:spPr>
        <a:xfrm>
          <a:off x="924849" y="2532"/>
          <a:ext cx="3368186" cy="20209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latin typeface="+mj-lt"/>
            </a:rPr>
            <a:t>Social Security Number</a:t>
          </a:r>
        </a:p>
      </dsp:txBody>
      <dsp:txXfrm>
        <a:off x="924849" y="2532"/>
        <a:ext cx="3368186" cy="2020911"/>
      </dsp:txXfrm>
    </dsp:sp>
    <dsp:sp modelId="{06D0A693-A051-4414-8496-B52164DA914F}">
      <dsp:nvSpPr>
        <dsp:cNvPr id="0" name=""/>
        <dsp:cNvSpPr/>
      </dsp:nvSpPr>
      <dsp:spPr>
        <a:xfrm>
          <a:off x="924849" y="2360262"/>
          <a:ext cx="3368186" cy="20209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latin typeface="+mj-lt"/>
            </a:rPr>
            <a:t>Their own mobile phone number and/or email address</a:t>
          </a:r>
        </a:p>
      </dsp:txBody>
      <dsp:txXfrm>
        <a:off x="924849" y="2360262"/>
        <a:ext cx="3368186" cy="202091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D0A693-A051-4414-8496-B52164DA914F}">
      <dsp:nvSpPr>
        <dsp:cNvPr id="0" name=""/>
        <dsp:cNvSpPr/>
      </dsp:nvSpPr>
      <dsp:spPr>
        <a:xfrm>
          <a:off x="636" y="577187"/>
          <a:ext cx="2484101" cy="149046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mj-lt"/>
            </a:rPr>
            <a:t>You will need your own email address</a:t>
          </a:r>
        </a:p>
      </dsp:txBody>
      <dsp:txXfrm>
        <a:off x="636" y="577187"/>
        <a:ext cx="2484101" cy="1490460"/>
      </dsp:txXfrm>
    </dsp:sp>
    <dsp:sp modelId="{6A19E8F0-35C1-4384-A1A4-DAD9A3F4ECE2}">
      <dsp:nvSpPr>
        <dsp:cNvPr id="0" name=""/>
        <dsp:cNvSpPr/>
      </dsp:nvSpPr>
      <dsp:spPr>
        <a:xfrm>
          <a:off x="2733148" y="577187"/>
          <a:ext cx="2484101" cy="149046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mj-lt"/>
            </a:rPr>
            <a:t>The WASFA is available in English and Spanish</a:t>
          </a:r>
        </a:p>
      </dsp:txBody>
      <dsp:txXfrm>
        <a:off x="2733148" y="577187"/>
        <a:ext cx="2484101" cy="1490460"/>
      </dsp:txXfrm>
    </dsp:sp>
    <dsp:sp modelId="{8005E11E-08E3-4868-A6C9-F4B962A0FA44}">
      <dsp:nvSpPr>
        <dsp:cNvPr id="0" name=""/>
        <dsp:cNvSpPr/>
      </dsp:nvSpPr>
      <dsp:spPr>
        <a:xfrm>
          <a:off x="1366892" y="2316058"/>
          <a:ext cx="2484101" cy="149046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mj-lt"/>
            </a:rPr>
            <a:t>You will need internet access</a:t>
          </a:r>
        </a:p>
      </dsp:txBody>
      <dsp:txXfrm>
        <a:off x="1366892" y="2316058"/>
        <a:ext cx="2484101" cy="149046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3CD1AD-158A-4C39-AECB-B1F1A112361C}">
      <dsp:nvSpPr>
        <dsp:cNvPr id="0" name=""/>
        <dsp:cNvSpPr/>
      </dsp:nvSpPr>
      <dsp:spPr>
        <a:xfrm>
          <a:off x="0" y="15829"/>
          <a:ext cx="11452484" cy="58569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j-lt"/>
            </a:rPr>
            <a:t>Your driver’s license or state ID. (If you have one)</a:t>
          </a:r>
        </a:p>
      </dsp:txBody>
      <dsp:txXfrm>
        <a:off x="28591" y="44420"/>
        <a:ext cx="11395302" cy="528510"/>
      </dsp:txXfrm>
    </dsp:sp>
    <dsp:sp modelId="{FDF70A32-6E3E-4ACC-AD26-AA38C8657881}">
      <dsp:nvSpPr>
        <dsp:cNvPr id="0" name=""/>
        <dsp:cNvSpPr/>
      </dsp:nvSpPr>
      <dsp:spPr>
        <a:xfrm>
          <a:off x="0" y="667761"/>
          <a:ext cx="11452484" cy="5442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j-lt"/>
            </a:rPr>
            <a:t>Your income information</a:t>
          </a:r>
        </a:p>
      </dsp:txBody>
      <dsp:txXfrm>
        <a:off x="26569" y="694330"/>
        <a:ext cx="11399346" cy="491130"/>
      </dsp:txXfrm>
    </dsp:sp>
    <dsp:sp modelId="{DC49D098-172A-43A4-8A6E-1BE9F151DFC7}">
      <dsp:nvSpPr>
        <dsp:cNvPr id="0" name=""/>
        <dsp:cNvSpPr/>
      </dsp:nvSpPr>
      <dsp:spPr>
        <a:xfrm>
          <a:off x="0" y="1212030"/>
          <a:ext cx="11452484"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61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latin typeface="+mj-lt"/>
            </a:rPr>
            <a:t>This includes bank statements, a W-2 or pay stub, and a 2022 tax return if applicable.</a:t>
          </a:r>
        </a:p>
      </dsp:txBody>
      <dsp:txXfrm>
        <a:off x="0" y="1212030"/>
        <a:ext cx="11452484" cy="380880"/>
      </dsp:txXfrm>
    </dsp:sp>
    <dsp:sp modelId="{52A85D97-90FE-4AC5-8263-9B3C62782FC4}">
      <dsp:nvSpPr>
        <dsp:cNvPr id="0" name=""/>
        <dsp:cNvSpPr/>
      </dsp:nvSpPr>
      <dsp:spPr>
        <a:xfrm>
          <a:off x="0" y="1592910"/>
          <a:ext cx="11452484" cy="101753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j-lt"/>
            </a:rPr>
            <a:t>Your parent most likely will need to provide information, if you are 24 or younger. </a:t>
          </a:r>
        </a:p>
      </dsp:txBody>
      <dsp:txXfrm>
        <a:off x="49672" y="1642582"/>
        <a:ext cx="11353140" cy="918190"/>
      </dsp:txXfrm>
    </dsp:sp>
    <dsp:sp modelId="{79C8AD4F-4F73-4D39-A805-08CB8B5F908A}">
      <dsp:nvSpPr>
        <dsp:cNvPr id="0" name=""/>
        <dsp:cNvSpPr/>
      </dsp:nvSpPr>
      <dsp:spPr>
        <a:xfrm>
          <a:off x="0" y="2610445"/>
          <a:ext cx="11452484" cy="6665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61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latin typeface="+mj-lt"/>
            </a:rPr>
            <a:t>This includes bank statements, child support statements, W-2 or pay stubs, and a 2022 tax return if applicable.</a:t>
          </a:r>
        </a:p>
      </dsp:txBody>
      <dsp:txXfrm>
        <a:off x="0" y="2610445"/>
        <a:ext cx="11452484" cy="666540"/>
      </dsp:txXfrm>
    </dsp:sp>
    <dsp:sp modelId="{57EEA118-2B00-4662-862F-C82E930C0746}">
      <dsp:nvSpPr>
        <dsp:cNvPr id="0" name=""/>
        <dsp:cNvSpPr/>
      </dsp:nvSpPr>
      <dsp:spPr>
        <a:xfrm>
          <a:off x="0" y="3276985"/>
          <a:ext cx="11452484" cy="58109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US" sz="2800" kern="1200" dirty="0">
              <a:latin typeface="+mj-lt"/>
            </a:rPr>
            <a:t>FAFSA Filers Should Also Have Access to: </a:t>
          </a:r>
        </a:p>
      </dsp:txBody>
      <dsp:txXfrm>
        <a:off x="28367" y="3305352"/>
        <a:ext cx="11395750" cy="524359"/>
      </dsp:txXfrm>
    </dsp:sp>
    <dsp:sp modelId="{73FA54F6-54FF-4EBD-B291-1E77DBBCAE3D}">
      <dsp:nvSpPr>
        <dsp:cNvPr id="0" name=""/>
        <dsp:cNvSpPr/>
      </dsp:nvSpPr>
      <dsp:spPr>
        <a:xfrm>
          <a:off x="0" y="3858078"/>
          <a:ext cx="11452484" cy="1095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616"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latin typeface="+mj-lt"/>
            </a:rPr>
            <a:t>Your FSA ID and your parent(s) will also need to create an FSA ID.</a:t>
          </a:r>
        </a:p>
        <a:p>
          <a:pPr marL="228600" lvl="1" indent="-228600" algn="l" defTabSz="1066800">
            <a:lnSpc>
              <a:spcPct val="90000"/>
            </a:lnSpc>
            <a:spcBef>
              <a:spcPct val="0"/>
            </a:spcBef>
            <a:spcAft>
              <a:spcPct val="20000"/>
            </a:spcAft>
            <a:buChar char="•"/>
          </a:pPr>
          <a:r>
            <a:rPr lang="en-US" sz="2400" kern="1200" dirty="0">
              <a:latin typeface="+mj-lt"/>
            </a:rPr>
            <a:t>Your Social Security Card or green card. </a:t>
          </a:r>
        </a:p>
        <a:p>
          <a:pPr marL="228600" lvl="1" indent="-228600" algn="l" defTabSz="1066800">
            <a:lnSpc>
              <a:spcPct val="90000"/>
            </a:lnSpc>
            <a:spcBef>
              <a:spcPct val="0"/>
            </a:spcBef>
            <a:spcAft>
              <a:spcPct val="20000"/>
            </a:spcAft>
            <a:buChar char="•"/>
          </a:pPr>
          <a:r>
            <a:rPr lang="en-US" sz="2400" kern="1200" dirty="0">
              <a:latin typeface="+mj-lt"/>
            </a:rPr>
            <a:t>Parent’s Social Security Number (if they have one).</a:t>
          </a:r>
        </a:p>
      </dsp:txBody>
      <dsp:txXfrm>
        <a:off x="0" y="3858078"/>
        <a:ext cx="11452484" cy="109503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48AAA6-5767-4857-8F42-A50639916294}">
      <dsp:nvSpPr>
        <dsp:cNvPr id="0" name=""/>
        <dsp:cNvSpPr/>
      </dsp:nvSpPr>
      <dsp:spPr>
        <a:xfrm>
          <a:off x="2679889" y="-3301"/>
          <a:ext cx="4751374" cy="4751374"/>
        </a:xfrm>
        <a:prstGeom prst="circularArrow">
          <a:avLst>
            <a:gd name="adj1" fmla="val 5274"/>
            <a:gd name="adj2" fmla="val 312630"/>
            <a:gd name="adj3" fmla="val 14205869"/>
            <a:gd name="adj4" fmla="val 17140057"/>
            <a:gd name="adj5" fmla="val 547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6097A1-E9A3-459B-9481-0CFB1C7A4168}">
      <dsp:nvSpPr>
        <dsp:cNvPr id="0" name=""/>
        <dsp:cNvSpPr/>
      </dsp:nvSpPr>
      <dsp:spPr>
        <a:xfrm>
          <a:off x="4140981" y="2200"/>
          <a:ext cx="1829190" cy="91459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Gather required documents </a:t>
          </a:r>
        </a:p>
      </dsp:txBody>
      <dsp:txXfrm>
        <a:off x="4185628" y="46847"/>
        <a:ext cx="1739896" cy="825301"/>
      </dsp:txXfrm>
    </dsp:sp>
    <dsp:sp modelId="{17A59CB3-C312-4804-9B27-E9EC7480DFA6}">
      <dsp:nvSpPr>
        <dsp:cNvPr id="0" name=""/>
        <dsp:cNvSpPr/>
      </dsp:nvSpPr>
      <dsp:spPr>
        <a:xfrm>
          <a:off x="5810276" y="965967"/>
          <a:ext cx="1829190" cy="914595"/>
        </a:xfrm>
        <a:prstGeom prst="roundRect">
          <a:avLst/>
        </a:prstGeom>
        <a:solidFill>
          <a:schemeClr val="accent2">
            <a:hueOff val="-1275536"/>
            <a:satOff val="-4258"/>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Create an FSA ID or WASFA account (only created once)</a:t>
          </a:r>
        </a:p>
      </dsp:txBody>
      <dsp:txXfrm>
        <a:off x="5854923" y="1010614"/>
        <a:ext cx="1739896" cy="825301"/>
      </dsp:txXfrm>
    </dsp:sp>
    <dsp:sp modelId="{0440F1AF-C7BA-4479-9D19-310F3CA5BB3E}">
      <dsp:nvSpPr>
        <dsp:cNvPr id="0" name=""/>
        <dsp:cNvSpPr/>
      </dsp:nvSpPr>
      <dsp:spPr>
        <a:xfrm>
          <a:off x="5810276" y="2893502"/>
          <a:ext cx="1829190" cy="914595"/>
        </a:xfrm>
        <a:prstGeom prst="roundRect">
          <a:avLst/>
        </a:prstGeom>
        <a:solidFill>
          <a:schemeClr val="accent2">
            <a:hueOff val="-2551072"/>
            <a:satOff val="-8516"/>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FAFSA &amp; WASFA open in December</a:t>
          </a:r>
        </a:p>
      </dsp:txBody>
      <dsp:txXfrm>
        <a:off x="5854923" y="2938149"/>
        <a:ext cx="1739896" cy="825301"/>
      </dsp:txXfrm>
    </dsp:sp>
    <dsp:sp modelId="{80E7C151-8990-41C0-81F8-D11135D6AA76}">
      <dsp:nvSpPr>
        <dsp:cNvPr id="0" name=""/>
        <dsp:cNvSpPr/>
      </dsp:nvSpPr>
      <dsp:spPr>
        <a:xfrm>
          <a:off x="4140981" y="3857270"/>
          <a:ext cx="1829190" cy="914595"/>
        </a:xfrm>
        <a:prstGeom prst="roundRect">
          <a:avLst/>
        </a:prstGeom>
        <a:solidFill>
          <a:schemeClr val="accent2">
            <a:hueOff val="-3826608"/>
            <a:satOff val="-12773"/>
            <a:lumOff val="-5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Students apply for financial aid and admissions</a:t>
          </a:r>
        </a:p>
      </dsp:txBody>
      <dsp:txXfrm>
        <a:off x="4185628" y="3901917"/>
        <a:ext cx="1739896" cy="825301"/>
      </dsp:txXfrm>
    </dsp:sp>
    <dsp:sp modelId="{EA2AA3E0-8A65-4ACE-8A69-98A580E15AFC}">
      <dsp:nvSpPr>
        <dsp:cNvPr id="0" name=""/>
        <dsp:cNvSpPr/>
      </dsp:nvSpPr>
      <dsp:spPr>
        <a:xfrm>
          <a:off x="2471687" y="2893502"/>
          <a:ext cx="1829190" cy="914595"/>
        </a:xfrm>
        <a:prstGeom prst="roundRect">
          <a:avLst/>
        </a:prstGeom>
        <a:solidFill>
          <a:schemeClr val="accent2">
            <a:hueOff val="-5102144"/>
            <a:satOff val="-17031"/>
            <a:lumOff val="-7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Follow up with colleges for any additional request for information</a:t>
          </a:r>
        </a:p>
      </dsp:txBody>
      <dsp:txXfrm>
        <a:off x="2516334" y="2938149"/>
        <a:ext cx="1739896" cy="825301"/>
      </dsp:txXfrm>
    </dsp:sp>
    <dsp:sp modelId="{AA458DA6-D0B9-443C-ABD5-12A7170BF190}">
      <dsp:nvSpPr>
        <dsp:cNvPr id="0" name=""/>
        <dsp:cNvSpPr/>
      </dsp:nvSpPr>
      <dsp:spPr>
        <a:xfrm>
          <a:off x="2471687" y="965967"/>
          <a:ext cx="1829190" cy="914595"/>
        </a:xfrm>
        <a:prstGeom prst="roundRect">
          <a:avLst/>
        </a:prstGeom>
        <a:solidFill>
          <a:schemeClr val="accent2">
            <a:hueOff val="-6377680"/>
            <a:satOff val="-21289"/>
            <a:lumOff val="-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j-lt"/>
            </a:rPr>
            <a:t>Review your award letters and accept your aid.</a:t>
          </a:r>
        </a:p>
      </dsp:txBody>
      <dsp:txXfrm>
        <a:off x="2516334" y="1010614"/>
        <a:ext cx="1739896" cy="825301"/>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FFE250-7FBD-437E-B88B-8186CAFCB872}">
      <dsp:nvSpPr>
        <dsp:cNvPr id="0" name=""/>
        <dsp:cNvSpPr/>
      </dsp:nvSpPr>
      <dsp:spPr>
        <a:xfrm>
          <a:off x="0" y="571499"/>
          <a:ext cx="3202911" cy="1921747"/>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0" i="0" kern="1200" dirty="0">
              <a:latin typeface="+mj-lt"/>
            </a:rPr>
            <a:t>The 2024-25 FAFSA &amp; WASFA will be available in December</a:t>
          </a:r>
          <a:endParaRPr lang="en-US" sz="2700" kern="1200" dirty="0">
            <a:latin typeface="+mj-lt"/>
          </a:endParaRPr>
        </a:p>
      </dsp:txBody>
      <dsp:txXfrm>
        <a:off x="0" y="571499"/>
        <a:ext cx="3202911" cy="1921747"/>
      </dsp:txXfrm>
    </dsp:sp>
    <dsp:sp modelId="{24954EB3-C380-4182-B666-EEB6575BB82A}">
      <dsp:nvSpPr>
        <dsp:cNvPr id="0" name=""/>
        <dsp:cNvSpPr/>
      </dsp:nvSpPr>
      <dsp:spPr>
        <a:xfrm>
          <a:off x="3523203" y="571499"/>
          <a:ext cx="3202911" cy="19217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b="0" i="0" kern="1200" dirty="0">
              <a:latin typeface="+mj-lt"/>
            </a:rPr>
            <a:t>2025-26 and beyond will be available in October </a:t>
          </a:r>
          <a:endParaRPr lang="en-US" sz="2700" kern="1200" dirty="0">
            <a:latin typeface="+mj-lt"/>
          </a:endParaRPr>
        </a:p>
      </dsp:txBody>
      <dsp:txXfrm>
        <a:off x="3523203" y="571499"/>
        <a:ext cx="3202911" cy="1921747"/>
      </dsp:txXfrm>
    </dsp:sp>
    <dsp:sp modelId="{2107CA9C-CC16-47C2-9DBB-B69B73877499}">
      <dsp:nvSpPr>
        <dsp:cNvPr id="0" name=""/>
        <dsp:cNvSpPr/>
      </dsp:nvSpPr>
      <dsp:spPr>
        <a:xfrm>
          <a:off x="7046406" y="571499"/>
          <a:ext cx="3202911" cy="1921747"/>
        </a:xfrm>
        <a:prstGeom prst="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mj-lt"/>
            </a:rPr>
            <a:t>Class of 2024 will complete the 2024-25 FAFSA or WASFA using 2022 income information </a:t>
          </a:r>
        </a:p>
      </dsp:txBody>
      <dsp:txXfrm>
        <a:off x="7046406" y="571499"/>
        <a:ext cx="3202911" cy="19217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D5B654-FEB8-4E32-B746-763FB1A5A16A}">
      <dsp:nvSpPr>
        <dsp:cNvPr id="0" name=""/>
        <dsp:cNvSpPr/>
      </dsp:nvSpPr>
      <dsp:spPr>
        <a:xfrm>
          <a:off x="0" y="31101"/>
          <a:ext cx="2671354"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marL="0" lvl="0" indent="0" algn="r" defTabSz="1244600">
            <a:lnSpc>
              <a:spcPct val="90000"/>
            </a:lnSpc>
            <a:spcBef>
              <a:spcPct val="0"/>
            </a:spcBef>
            <a:spcAft>
              <a:spcPct val="35000"/>
            </a:spcAft>
            <a:buNone/>
          </a:pPr>
          <a:r>
            <a:rPr lang="en-US" sz="2800" kern="1200" dirty="0">
              <a:latin typeface="+mj-lt"/>
            </a:rPr>
            <a:t>Grants</a:t>
          </a:r>
        </a:p>
      </dsp:txBody>
      <dsp:txXfrm>
        <a:off x="0" y="31101"/>
        <a:ext cx="2671354" cy="554400"/>
      </dsp:txXfrm>
    </dsp:sp>
    <dsp:sp modelId="{2FD81F2E-18BD-4F16-8641-D95F02166BFA}">
      <dsp:nvSpPr>
        <dsp:cNvPr id="0" name=""/>
        <dsp:cNvSpPr/>
      </dsp:nvSpPr>
      <dsp:spPr>
        <a:xfrm>
          <a:off x="2671354" y="31101"/>
          <a:ext cx="534270" cy="554400"/>
        </a:xfrm>
        <a:prstGeom prst="leftBrace">
          <a:avLst>
            <a:gd name="adj1" fmla="val 35000"/>
            <a:gd name="adj2" fmla="val 5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703E705-0B03-4174-B8A0-7C6F22E6F6AD}">
      <dsp:nvSpPr>
        <dsp:cNvPr id="0" name=""/>
        <dsp:cNvSpPr/>
      </dsp:nvSpPr>
      <dsp:spPr>
        <a:xfrm>
          <a:off x="3419333" y="31101"/>
          <a:ext cx="7266083" cy="5544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latin typeface="+mj-lt"/>
            </a:rPr>
            <a:t>Income-based, federal, state and institutional.</a:t>
          </a:r>
        </a:p>
      </dsp:txBody>
      <dsp:txXfrm>
        <a:off x="3419333" y="31101"/>
        <a:ext cx="7266083" cy="554400"/>
      </dsp:txXfrm>
    </dsp:sp>
    <dsp:sp modelId="{56EE09C3-C486-4583-A78E-BBB2B30395F5}">
      <dsp:nvSpPr>
        <dsp:cNvPr id="0" name=""/>
        <dsp:cNvSpPr/>
      </dsp:nvSpPr>
      <dsp:spPr>
        <a:xfrm>
          <a:off x="0" y="807577"/>
          <a:ext cx="2671354"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marL="0" lvl="0" indent="0" algn="r" defTabSz="1244600">
            <a:lnSpc>
              <a:spcPct val="90000"/>
            </a:lnSpc>
            <a:spcBef>
              <a:spcPct val="0"/>
            </a:spcBef>
            <a:spcAft>
              <a:spcPct val="35000"/>
            </a:spcAft>
            <a:buNone/>
          </a:pPr>
          <a:r>
            <a:rPr lang="en-US" sz="2800" kern="1200" dirty="0">
              <a:latin typeface="+mj-lt"/>
            </a:rPr>
            <a:t>Scholarships</a:t>
          </a:r>
        </a:p>
      </dsp:txBody>
      <dsp:txXfrm>
        <a:off x="0" y="807577"/>
        <a:ext cx="2671354" cy="554400"/>
      </dsp:txXfrm>
    </dsp:sp>
    <dsp:sp modelId="{91DF9F53-75B6-4E19-8D46-ABB4E2152961}">
      <dsp:nvSpPr>
        <dsp:cNvPr id="0" name=""/>
        <dsp:cNvSpPr/>
      </dsp:nvSpPr>
      <dsp:spPr>
        <a:xfrm>
          <a:off x="2671354" y="686302"/>
          <a:ext cx="534270" cy="796950"/>
        </a:xfrm>
        <a:prstGeom prst="leftBrace">
          <a:avLst>
            <a:gd name="adj1" fmla="val 35000"/>
            <a:gd name="adj2" fmla="val 5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DBBDCF-8A60-4303-A17C-04E42FDD3835}">
      <dsp:nvSpPr>
        <dsp:cNvPr id="0" name=""/>
        <dsp:cNvSpPr/>
      </dsp:nvSpPr>
      <dsp:spPr>
        <a:xfrm>
          <a:off x="3419333" y="686302"/>
          <a:ext cx="7266083" cy="79695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latin typeface="+mj-lt"/>
            </a:rPr>
            <a:t>Merit and income-based, from public, private, and nonprofit sources</a:t>
          </a:r>
          <a:r>
            <a:rPr lang="en-US" sz="1800" kern="1200" dirty="0">
              <a:latin typeface="+mj-lt"/>
            </a:rPr>
            <a:t>.</a:t>
          </a:r>
        </a:p>
      </dsp:txBody>
      <dsp:txXfrm>
        <a:off x="3419333" y="686302"/>
        <a:ext cx="7266083" cy="796950"/>
      </dsp:txXfrm>
    </dsp:sp>
    <dsp:sp modelId="{93403FB3-33D5-4C8B-AA32-D75B19FB710D}">
      <dsp:nvSpPr>
        <dsp:cNvPr id="0" name=""/>
        <dsp:cNvSpPr/>
      </dsp:nvSpPr>
      <dsp:spPr>
        <a:xfrm>
          <a:off x="0" y="1584052"/>
          <a:ext cx="2671354"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marL="0" lvl="0" indent="0" algn="r" defTabSz="1244600">
            <a:lnSpc>
              <a:spcPct val="90000"/>
            </a:lnSpc>
            <a:spcBef>
              <a:spcPct val="0"/>
            </a:spcBef>
            <a:spcAft>
              <a:spcPct val="35000"/>
            </a:spcAft>
            <a:buNone/>
          </a:pPr>
          <a:r>
            <a:rPr lang="en-US" sz="2800" kern="1200" dirty="0">
              <a:latin typeface="+mj-lt"/>
            </a:rPr>
            <a:t>Loans</a:t>
          </a:r>
        </a:p>
      </dsp:txBody>
      <dsp:txXfrm>
        <a:off x="0" y="1584052"/>
        <a:ext cx="2671354" cy="554400"/>
      </dsp:txXfrm>
    </dsp:sp>
    <dsp:sp modelId="{F7CC5CB3-2D75-4147-BA7F-40D21C0E20E4}">
      <dsp:nvSpPr>
        <dsp:cNvPr id="0" name=""/>
        <dsp:cNvSpPr/>
      </dsp:nvSpPr>
      <dsp:spPr>
        <a:xfrm>
          <a:off x="2671354" y="1584052"/>
          <a:ext cx="534270" cy="554400"/>
        </a:xfrm>
        <a:prstGeom prst="leftBrace">
          <a:avLst>
            <a:gd name="adj1" fmla="val 35000"/>
            <a:gd name="adj2" fmla="val 5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D63E467-6CB0-4EB5-A08F-BC86FE6758EF}">
      <dsp:nvSpPr>
        <dsp:cNvPr id="0" name=""/>
        <dsp:cNvSpPr/>
      </dsp:nvSpPr>
      <dsp:spPr>
        <a:xfrm>
          <a:off x="3419333" y="1584052"/>
          <a:ext cx="7266083" cy="5544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latin typeface="+mj-lt"/>
            </a:rPr>
            <a:t>Income-based, federal and private.</a:t>
          </a:r>
        </a:p>
      </dsp:txBody>
      <dsp:txXfrm>
        <a:off x="3419333" y="1584052"/>
        <a:ext cx="7266083" cy="554400"/>
      </dsp:txXfrm>
    </dsp:sp>
    <dsp:sp modelId="{23100991-60CA-4572-8BDF-8E00DA802B54}">
      <dsp:nvSpPr>
        <dsp:cNvPr id="0" name=""/>
        <dsp:cNvSpPr/>
      </dsp:nvSpPr>
      <dsp:spPr>
        <a:xfrm>
          <a:off x="0" y="2239252"/>
          <a:ext cx="2668745" cy="554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marL="0" lvl="0" indent="0" algn="r" defTabSz="1244600">
            <a:lnSpc>
              <a:spcPct val="90000"/>
            </a:lnSpc>
            <a:spcBef>
              <a:spcPct val="0"/>
            </a:spcBef>
            <a:spcAft>
              <a:spcPct val="35000"/>
            </a:spcAft>
            <a:buNone/>
          </a:pPr>
          <a:r>
            <a:rPr lang="en-US" sz="2800" kern="1200" dirty="0">
              <a:latin typeface="+mj-lt"/>
            </a:rPr>
            <a:t>Work Study</a:t>
          </a:r>
        </a:p>
      </dsp:txBody>
      <dsp:txXfrm>
        <a:off x="0" y="2239252"/>
        <a:ext cx="2668745" cy="554400"/>
      </dsp:txXfrm>
    </dsp:sp>
    <dsp:sp modelId="{467119F5-1DD1-4F75-BADB-387AD4E21238}">
      <dsp:nvSpPr>
        <dsp:cNvPr id="0" name=""/>
        <dsp:cNvSpPr/>
      </dsp:nvSpPr>
      <dsp:spPr>
        <a:xfrm>
          <a:off x="2668745" y="2239252"/>
          <a:ext cx="533749" cy="554400"/>
        </a:xfrm>
        <a:prstGeom prst="leftBrace">
          <a:avLst>
            <a:gd name="adj1" fmla="val 35000"/>
            <a:gd name="adj2" fmla="val 5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2AEA0C-0AE6-4728-B17D-AB8E113EB58C}">
      <dsp:nvSpPr>
        <dsp:cNvPr id="0" name=""/>
        <dsp:cNvSpPr/>
      </dsp:nvSpPr>
      <dsp:spPr>
        <a:xfrm>
          <a:off x="3415994" y="2239252"/>
          <a:ext cx="7258987" cy="5544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latin typeface="+mj-lt"/>
            </a:rPr>
            <a:t>Income-based, federal, state and institutional.</a:t>
          </a:r>
        </a:p>
      </dsp:txBody>
      <dsp:txXfrm>
        <a:off x="3415994" y="2239252"/>
        <a:ext cx="7258987" cy="55440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A3AFAA-53F2-4C54-B9E3-FA8B49733DE0}">
      <dsp:nvSpPr>
        <dsp:cNvPr id="0" name=""/>
        <dsp:cNvSpPr/>
      </dsp:nvSpPr>
      <dsp:spPr>
        <a:xfrm>
          <a:off x="0" y="12112"/>
          <a:ext cx="10515600" cy="73007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1" kern="1200" dirty="0">
              <a:latin typeface="+mj-lt"/>
            </a:rPr>
            <a:t>Explore Your Options</a:t>
          </a:r>
          <a:endParaRPr lang="en-US" sz="3200" kern="1200" dirty="0">
            <a:latin typeface="+mj-lt"/>
          </a:endParaRPr>
        </a:p>
      </dsp:txBody>
      <dsp:txXfrm>
        <a:off x="35640" y="47752"/>
        <a:ext cx="10444320" cy="658799"/>
      </dsp:txXfrm>
    </dsp:sp>
    <dsp:sp modelId="{BF138AA0-5502-497B-9C4D-98F7D5EC4CE2}">
      <dsp:nvSpPr>
        <dsp:cNvPr id="0" name=""/>
        <dsp:cNvSpPr/>
      </dsp:nvSpPr>
      <dsp:spPr>
        <a:xfrm>
          <a:off x="0" y="742192"/>
          <a:ext cx="10515600" cy="72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solidFill>
                <a:schemeClr val="tx1"/>
              </a:solidFill>
              <a:latin typeface="+mj-lt"/>
            </a:rPr>
            <a:t>Explore your post secondary options using your high school and beyond plan.</a:t>
          </a:r>
        </a:p>
        <a:p>
          <a:pPr marL="228600" lvl="1" indent="-228600" algn="l" defTabSz="1066800">
            <a:lnSpc>
              <a:spcPct val="90000"/>
            </a:lnSpc>
            <a:spcBef>
              <a:spcPct val="0"/>
            </a:spcBef>
            <a:spcAft>
              <a:spcPct val="20000"/>
            </a:spcAft>
            <a:buChar char="•"/>
          </a:pPr>
          <a:r>
            <a:rPr lang="en-US" sz="2400" kern="1200" dirty="0">
              <a:solidFill>
                <a:schemeClr val="tx1"/>
              </a:solidFill>
              <a:latin typeface="+mj-lt"/>
            </a:rPr>
            <a:t>Talk to your counselor to make sure you are on track for graduation.</a:t>
          </a:r>
        </a:p>
      </dsp:txBody>
      <dsp:txXfrm>
        <a:off x="0" y="742192"/>
        <a:ext cx="10515600" cy="728640"/>
      </dsp:txXfrm>
    </dsp:sp>
    <dsp:sp modelId="{2099A795-71E5-4A02-A6E5-DC626EEF8EB1}">
      <dsp:nvSpPr>
        <dsp:cNvPr id="0" name=""/>
        <dsp:cNvSpPr/>
      </dsp:nvSpPr>
      <dsp:spPr>
        <a:xfrm>
          <a:off x="0" y="1470832"/>
          <a:ext cx="10515600" cy="730079"/>
        </a:xfrm>
        <a:prstGeom prst="roundRect">
          <a:avLst/>
        </a:prstGeom>
        <a:solidFill>
          <a:schemeClr val="accent3">
            <a:hueOff val="3295225"/>
            <a:satOff val="-22344"/>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1" kern="1200" dirty="0">
              <a:latin typeface="+mj-lt"/>
            </a:rPr>
            <a:t>Determine Which Financial Aid Application To Use</a:t>
          </a:r>
        </a:p>
      </dsp:txBody>
      <dsp:txXfrm>
        <a:off x="35640" y="1506472"/>
        <a:ext cx="10444320" cy="658799"/>
      </dsp:txXfrm>
    </dsp:sp>
    <dsp:sp modelId="{1916CE61-746D-47C9-BB0B-FE8E513C8842}">
      <dsp:nvSpPr>
        <dsp:cNvPr id="0" name=""/>
        <dsp:cNvSpPr/>
      </dsp:nvSpPr>
      <dsp:spPr>
        <a:xfrm>
          <a:off x="0" y="2200912"/>
          <a:ext cx="10515600" cy="662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solidFill>
                <a:schemeClr val="tx1"/>
              </a:solidFill>
              <a:latin typeface="+mj-lt"/>
            </a:rPr>
            <a:t>If you are not sure which application to complete go to </a:t>
          </a:r>
          <a:r>
            <a:rPr lang="en-US" sz="2400" kern="1200" dirty="0">
              <a:latin typeface="+mj-lt"/>
              <a:hlinkClick xmlns:r="http://schemas.openxmlformats.org/officeDocument/2006/relationships" r:id="rId1"/>
            </a:rPr>
            <a:t>https://wsac.wa.gov/WASFAelig</a:t>
          </a:r>
          <a:endParaRPr lang="en-US" sz="2400" kern="1200" dirty="0">
            <a:solidFill>
              <a:schemeClr val="tx1"/>
            </a:solidFill>
            <a:latin typeface="+mj-lt"/>
          </a:endParaRPr>
        </a:p>
      </dsp:txBody>
      <dsp:txXfrm>
        <a:off x="0" y="2200912"/>
        <a:ext cx="10515600" cy="662400"/>
      </dsp:txXfrm>
    </dsp:sp>
    <dsp:sp modelId="{B5556ADA-735F-4649-B9B9-6CA786496CB1}">
      <dsp:nvSpPr>
        <dsp:cNvPr id="0" name=""/>
        <dsp:cNvSpPr/>
      </dsp:nvSpPr>
      <dsp:spPr>
        <a:xfrm>
          <a:off x="0" y="2863312"/>
          <a:ext cx="10515600" cy="730079"/>
        </a:xfrm>
        <a:prstGeom prst="roundRect">
          <a:avLst/>
        </a:prstGeom>
        <a:solidFill>
          <a:schemeClr val="accent3">
            <a:hueOff val="6590450"/>
            <a:satOff val="-44688"/>
            <a:lumOff val="2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1" kern="1200" dirty="0">
              <a:latin typeface="+mj-lt"/>
            </a:rPr>
            <a:t>Create an FSA ID or WASFA Account</a:t>
          </a:r>
        </a:p>
      </dsp:txBody>
      <dsp:txXfrm>
        <a:off x="35640" y="2898952"/>
        <a:ext cx="10444320" cy="658799"/>
      </dsp:txXfrm>
    </dsp:sp>
    <dsp:sp modelId="{EEA0FB78-A39F-4CFC-A2B8-BE368588EEC0}">
      <dsp:nvSpPr>
        <dsp:cNvPr id="0" name=""/>
        <dsp:cNvSpPr/>
      </dsp:nvSpPr>
      <dsp:spPr>
        <a:xfrm>
          <a:off x="0" y="3593392"/>
          <a:ext cx="10515600" cy="1092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n-US" sz="2400" kern="1200" dirty="0">
              <a:solidFill>
                <a:schemeClr val="tx1"/>
              </a:solidFill>
              <a:latin typeface="+mj-lt"/>
            </a:rPr>
            <a:t>You can create an FSA ID by going to </a:t>
          </a:r>
          <a:r>
            <a:rPr lang="en-US" sz="2400" kern="1200" dirty="0">
              <a:latin typeface="+mj-lt"/>
              <a:hlinkClick xmlns:r="http://schemas.openxmlformats.org/officeDocument/2006/relationships" r:id="rId2"/>
            </a:rPr>
            <a:t>https://fsaid.ed.gov/npas/index.htm</a:t>
          </a:r>
          <a:endParaRPr lang="en-US" sz="2400" kern="1200" dirty="0">
            <a:solidFill>
              <a:schemeClr val="tx1"/>
            </a:solidFill>
            <a:latin typeface="+mj-lt"/>
          </a:endParaRPr>
        </a:p>
        <a:p>
          <a:pPr marL="228600" lvl="1" indent="-228600" algn="l" defTabSz="1066800">
            <a:lnSpc>
              <a:spcPct val="90000"/>
            </a:lnSpc>
            <a:spcBef>
              <a:spcPct val="0"/>
            </a:spcBef>
            <a:spcAft>
              <a:spcPct val="20000"/>
            </a:spcAft>
            <a:buChar char="•"/>
          </a:pPr>
          <a:r>
            <a:rPr lang="en-US" sz="2400" kern="1200" dirty="0">
              <a:solidFill>
                <a:schemeClr val="tx1"/>
              </a:solidFill>
              <a:latin typeface="+mj-lt"/>
            </a:rPr>
            <a:t>You can create a WASFA account by going to </a:t>
          </a:r>
          <a:r>
            <a:rPr lang="en-US" sz="2400" kern="1200" dirty="0">
              <a:latin typeface="+mj-lt"/>
              <a:hlinkClick xmlns:r="http://schemas.openxmlformats.org/officeDocument/2006/relationships" r:id="rId1"/>
            </a:rPr>
            <a:t>https://wsac.wa.gov/WASFAelig</a:t>
          </a:r>
          <a:endParaRPr lang="en-US" sz="2400" kern="1200" dirty="0">
            <a:solidFill>
              <a:schemeClr val="tx1"/>
            </a:solidFill>
            <a:latin typeface="+mj-lt"/>
          </a:endParaRPr>
        </a:p>
        <a:p>
          <a:pPr marL="228600" lvl="1" indent="-228600" algn="l" defTabSz="1066800">
            <a:lnSpc>
              <a:spcPct val="90000"/>
            </a:lnSpc>
            <a:spcBef>
              <a:spcPct val="0"/>
            </a:spcBef>
            <a:spcAft>
              <a:spcPct val="20000"/>
            </a:spcAft>
            <a:buChar char="•"/>
          </a:pPr>
          <a:r>
            <a:rPr lang="en-US" sz="2400" kern="1200" dirty="0">
              <a:solidFill>
                <a:schemeClr val="tx1"/>
              </a:solidFill>
              <a:latin typeface="+mj-lt"/>
            </a:rPr>
            <a:t>Complete your 2024-25 application starting December 2023</a:t>
          </a:r>
        </a:p>
      </dsp:txBody>
      <dsp:txXfrm>
        <a:off x="0" y="3593392"/>
        <a:ext cx="10515600" cy="109296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E1E90A-4290-4073-A2AB-527A20860E8F}">
      <dsp:nvSpPr>
        <dsp:cNvPr id="0" name=""/>
        <dsp:cNvSpPr/>
      </dsp:nvSpPr>
      <dsp:spPr>
        <a:xfrm>
          <a:off x="-5017635" y="-774543"/>
          <a:ext cx="6020852" cy="6020852"/>
        </a:xfrm>
        <a:prstGeom prst="blockArc">
          <a:avLst>
            <a:gd name="adj1" fmla="val 18900000"/>
            <a:gd name="adj2" fmla="val 2700000"/>
            <a:gd name="adj3" fmla="val 359"/>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EEE88-C7C7-4C73-ADFA-5299724E363A}">
      <dsp:nvSpPr>
        <dsp:cNvPr id="0" name=""/>
        <dsp:cNvSpPr/>
      </dsp:nvSpPr>
      <dsp:spPr>
        <a:xfrm>
          <a:off x="822022" y="638836"/>
          <a:ext cx="7015279" cy="127749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4011" tIns="101600" rIns="101600" bIns="101600" numCol="1" spcCol="1270" anchor="ctr" anchorCtr="0">
          <a:noAutofit/>
        </a:bodyPr>
        <a:lstStyle/>
        <a:p>
          <a:pPr marL="0" lvl="0" indent="0" algn="l" defTabSz="1778000">
            <a:lnSpc>
              <a:spcPct val="90000"/>
            </a:lnSpc>
            <a:spcBef>
              <a:spcPct val="0"/>
            </a:spcBef>
            <a:spcAft>
              <a:spcPct val="35000"/>
            </a:spcAft>
            <a:buNone/>
          </a:pPr>
          <a:r>
            <a:rPr lang="en-US" sz="4000" kern="1200">
              <a:latin typeface="+mj-lt"/>
            </a:rPr>
            <a:t>One-stop site for juniors and seniors </a:t>
          </a:r>
        </a:p>
      </dsp:txBody>
      <dsp:txXfrm>
        <a:off x="822022" y="638836"/>
        <a:ext cx="7015279" cy="1277493"/>
      </dsp:txXfrm>
    </dsp:sp>
    <dsp:sp modelId="{D688FABD-1F6D-4EB8-AAA6-ACFD9889F7FB}">
      <dsp:nvSpPr>
        <dsp:cNvPr id="0" name=""/>
        <dsp:cNvSpPr/>
      </dsp:nvSpPr>
      <dsp:spPr>
        <a:xfrm>
          <a:off x="23588" y="479149"/>
          <a:ext cx="1596867" cy="159686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C5B223-0064-4E6D-90D1-7DDCF092CA8E}">
      <dsp:nvSpPr>
        <dsp:cNvPr id="0" name=""/>
        <dsp:cNvSpPr/>
      </dsp:nvSpPr>
      <dsp:spPr>
        <a:xfrm>
          <a:off x="822022" y="2555434"/>
          <a:ext cx="7015279" cy="127749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4011" tIns="101600" rIns="101600" bIns="101600" numCol="1" spcCol="1270" anchor="ctr" anchorCtr="0">
          <a:noAutofit/>
        </a:bodyPr>
        <a:lstStyle/>
        <a:p>
          <a:pPr marL="0" lvl="0" indent="0" algn="l" defTabSz="1778000">
            <a:lnSpc>
              <a:spcPct val="90000"/>
            </a:lnSpc>
            <a:spcBef>
              <a:spcPct val="0"/>
            </a:spcBef>
            <a:spcAft>
              <a:spcPct val="35000"/>
            </a:spcAft>
            <a:buNone/>
          </a:pPr>
          <a:r>
            <a:rPr lang="en-US" sz="4000" kern="1200">
              <a:latin typeface="+mj-lt"/>
            </a:rPr>
            <a:t>Career exploration resources to application information</a:t>
          </a:r>
        </a:p>
      </dsp:txBody>
      <dsp:txXfrm>
        <a:off x="822022" y="2555434"/>
        <a:ext cx="7015279" cy="1277493"/>
      </dsp:txXfrm>
    </dsp:sp>
    <dsp:sp modelId="{D09EEE02-13A2-46DF-9E5B-25808A119B91}">
      <dsp:nvSpPr>
        <dsp:cNvPr id="0" name=""/>
        <dsp:cNvSpPr/>
      </dsp:nvSpPr>
      <dsp:spPr>
        <a:xfrm>
          <a:off x="23588" y="2395748"/>
          <a:ext cx="1596867" cy="1596867"/>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53936F-1AB2-418B-84EE-292A06FA3DCE}">
      <dsp:nvSpPr>
        <dsp:cNvPr id="0" name=""/>
        <dsp:cNvSpPr/>
      </dsp:nvSpPr>
      <dsp:spPr>
        <a:xfrm>
          <a:off x="875" y="1184853"/>
          <a:ext cx="3413843" cy="204830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latin typeface="+mj-lt"/>
            </a:rPr>
            <a:t>Free virtual financial aid completion events to help you take the next step!</a:t>
          </a:r>
        </a:p>
      </dsp:txBody>
      <dsp:txXfrm>
        <a:off x="875" y="1184853"/>
        <a:ext cx="3413843" cy="2048305"/>
      </dsp:txXfrm>
    </dsp:sp>
    <dsp:sp modelId="{0C7BA3BD-FA8F-43B3-9195-2F144F4BC341}">
      <dsp:nvSpPr>
        <dsp:cNvPr id="0" name=""/>
        <dsp:cNvSpPr/>
      </dsp:nvSpPr>
      <dsp:spPr>
        <a:xfrm>
          <a:off x="3756102" y="1184853"/>
          <a:ext cx="3413843" cy="204830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latin typeface="+mj-lt"/>
            </a:rPr>
            <a:t>Free resources that support you with financial aid, college  admissions and more.</a:t>
          </a:r>
        </a:p>
      </dsp:txBody>
      <dsp:txXfrm>
        <a:off x="3756102" y="1184853"/>
        <a:ext cx="3413843" cy="2048305"/>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2C6CA-8ADF-41BE-ACC5-C4170E9C5134}">
      <dsp:nvSpPr>
        <dsp:cNvPr id="0" name=""/>
        <dsp:cNvSpPr/>
      </dsp:nvSpPr>
      <dsp:spPr>
        <a:xfrm>
          <a:off x="0" y="31247"/>
          <a:ext cx="6505575" cy="188446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dirty="0">
              <a:latin typeface="+mj-lt"/>
            </a:rPr>
            <a:t>Online:</a:t>
          </a:r>
        </a:p>
        <a:p>
          <a:pPr marL="223838" lvl="1" indent="0" algn="l" defTabSz="1111250">
            <a:lnSpc>
              <a:spcPct val="90000"/>
            </a:lnSpc>
            <a:spcBef>
              <a:spcPct val="0"/>
            </a:spcBef>
            <a:spcAft>
              <a:spcPct val="15000"/>
            </a:spcAft>
            <a:buChar char="•"/>
          </a:pPr>
          <a:r>
            <a:rPr lang="en-US" sz="2500" kern="1200" dirty="0">
              <a:solidFill>
                <a:schemeClr val="bg1"/>
              </a:solidFill>
              <a:latin typeface="+mj-lt"/>
            </a:rPr>
            <a:t>wsac.wa.gov</a:t>
          </a:r>
        </a:p>
        <a:p>
          <a:pPr marL="223838" lvl="1" indent="0" algn="l" defTabSz="1111250">
            <a:lnSpc>
              <a:spcPct val="90000"/>
            </a:lnSpc>
            <a:spcBef>
              <a:spcPct val="0"/>
            </a:spcBef>
            <a:spcAft>
              <a:spcPct val="15000"/>
            </a:spcAft>
            <a:buChar char="•"/>
          </a:pPr>
          <a:r>
            <a:rPr lang="en-US" sz="2500" kern="1200" dirty="0">
              <a:latin typeface="+mj-lt"/>
            </a:rPr>
            <a:t>www.thewashboard.org</a:t>
          </a:r>
        </a:p>
        <a:p>
          <a:pPr marL="223838" lvl="1" indent="0" algn="l" defTabSz="1111250">
            <a:lnSpc>
              <a:spcPct val="90000"/>
            </a:lnSpc>
            <a:spcBef>
              <a:spcPct val="0"/>
            </a:spcBef>
            <a:spcAft>
              <a:spcPct val="15000"/>
            </a:spcAft>
            <a:buChar char="•"/>
          </a:pPr>
          <a:r>
            <a:rPr lang="en-US" sz="2500" kern="1200" dirty="0">
              <a:solidFill>
                <a:schemeClr val="bg1"/>
              </a:solidFill>
              <a:latin typeface="+mj-lt"/>
            </a:rPr>
            <a:t>wastate529.wa.gov</a:t>
          </a:r>
        </a:p>
      </dsp:txBody>
      <dsp:txXfrm>
        <a:off x="1431367" y="31247"/>
        <a:ext cx="5074207" cy="1884462"/>
      </dsp:txXfrm>
    </dsp:sp>
    <dsp:sp modelId="{36FF14BC-FBA2-4EDA-A695-6270CF518E19}">
      <dsp:nvSpPr>
        <dsp:cNvPr id="0" name=""/>
        <dsp:cNvSpPr/>
      </dsp:nvSpPr>
      <dsp:spPr>
        <a:xfrm>
          <a:off x="130252" y="421222"/>
          <a:ext cx="1301115" cy="1042017"/>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34229C-F1EA-4DCA-8864-4C2575FF4974}">
      <dsp:nvSpPr>
        <dsp:cNvPr id="0" name=""/>
        <dsp:cNvSpPr/>
      </dsp:nvSpPr>
      <dsp:spPr>
        <a:xfrm>
          <a:off x="0" y="2022307"/>
          <a:ext cx="6505575" cy="1302521"/>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latin typeface="+mj-lt"/>
            </a:rPr>
            <a:t>On Twitter:</a:t>
          </a:r>
        </a:p>
        <a:p>
          <a:pPr marL="223838" lvl="1" indent="0" algn="l" defTabSz="1111250">
            <a:lnSpc>
              <a:spcPct val="90000"/>
            </a:lnSpc>
            <a:spcBef>
              <a:spcPct val="0"/>
            </a:spcBef>
            <a:spcAft>
              <a:spcPct val="15000"/>
            </a:spcAft>
            <a:buChar char="•"/>
          </a:pPr>
          <a:r>
            <a:rPr lang="en-US" sz="2500" kern="1200" dirty="0">
              <a:latin typeface="+mj-lt"/>
            </a:rPr>
            <a:t>@</a:t>
          </a:r>
          <a:r>
            <a:rPr lang="en-US" sz="2500" kern="1200" dirty="0" err="1">
              <a:latin typeface="+mj-lt"/>
            </a:rPr>
            <a:t>WSACouncil</a:t>
          </a:r>
          <a:r>
            <a:rPr lang="en-US" sz="2500" kern="1200" dirty="0">
              <a:latin typeface="+mj-lt"/>
            </a:rPr>
            <a:t> </a:t>
          </a:r>
        </a:p>
      </dsp:txBody>
      <dsp:txXfrm>
        <a:off x="1431367" y="2022307"/>
        <a:ext cx="5074207" cy="1302521"/>
      </dsp:txXfrm>
    </dsp:sp>
    <dsp:sp modelId="{8C589259-8345-4660-9E55-F438BB95AB07}">
      <dsp:nvSpPr>
        <dsp:cNvPr id="0" name=""/>
        <dsp:cNvSpPr/>
      </dsp:nvSpPr>
      <dsp:spPr>
        <a:xfrm>
          <a:off x="130252" y="2144966"/>
          <a:ext cx="1301115" cy="1042017"/>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B960BAA-C130-4144-9CAD-D50151064897}">
      <dsp:nvSpPr>
        <dsp:cNvPr id="0" name=""/>
        <dsp:cNvSpPr/>
      </dsp:nvSpPr>
      <dsp:spPr>
        <a:xfrm>
          <a:off x="0" y="3447487"/>
          <a:ext cx="6505575" cy="1302521"/>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latin typeface="+mj-lt"/>
            </a:rPr>
            <a:t>On Facebook:</a:t>
          </a:r>
        </a:p>
        <a:p>
          <a:pPr marL="223838" lvl="1" indent="0" algn="l" defTabSz="1111250">
            <a:lnSpc>
              <a:spcPct val="90000"/>
            </a:lnSpc>
            <a:spcBef>
              <a:spcPct val="0"/>
            </a:spcBef>
            <a:spcAft>
              <a:spcPct val="15000"/>
            </a:spcAft>
            <a:buChar char="•"/>
          </a:pPr>
          <a:r>
            <a:rPr lang="en-US" sz="2500" kern="1200" dirty="0">
              <a:latin typeface="+mj-lt"/>
            </a:rPr>
            <a:t>www.facebook.com/WSACouncil</a:t>
          </a:r>
        </a:p>
      </dsp:txBody>
      <dsp:txXfrm>
        <a:off x="1431367" y="3447487"/>
        <a:ext cx="5074207" cy="1302521"/>
      </dsp:txXfrm>
    </dsp:sp>
    <dsp:sp modelId="{DF22EC87-A7B2-48AC-814C-4B991D8B2FB4}">
      <dsp:nvSpPr>
        <dsp:cNvPr id="0" name=""/>
        <dsp:cNvSpPr/>
      </dsp:nvSpPr>
      <dsp:spPr>
        <a:xfrm>
          <a:off x="104294" y="3566809"/>
          <a:ext cx="1301115" cy="1042017"/>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2000" r="-1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61A595-D515-4831-AA89-118AA3A79382}">
      <dsp:nvSpPr>
        <dsp:cNvPr id="0" name=""/>
        <dsp:cNvSpPr/>
      </dsp:nvSpPr>
      <dsp:spPr>
        <a:xfrm>
          <a:off x="4800600" y="2393100"/>
          <a:ext cx="2913523" cy="576546"/>
        </a:xfrm>
        <a:custGeom>
          <a:avLst/>
          <a:gdLst/>
          <a:ahLst/>
          <a:cxnLst/>
          <a:rect l="0" t="0" r="0" b="0"/>
          <a:pathLst>
            <a:path>
              <a:moveTo>
                <a:pt x="0" y="0"/>
              </a:moveTo>
              <a:lnTo>
                <a:pt x="0" y="288273"/>
              </a:lnTo>
              <a:lnTo>
                <a:pt x="2913523" y="288273"/>
              </a:lnTo>
              <a:lnTo>
                <a:pt x="2913523" y="57654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5915C7-656A-4643-A93B-A31018C29B22}">
      <dsp:nvSpPr>
        <dsp:cNvPr id="0" name=""/>
        <dsp:cNvSpPr/>
      </dsp:nvSpPr>
      <dsp:spPr>
        <a:xfrm>
          <a:off x="2827533" y="2393100"/>
          <a:ext cx="1973066" cy="576546"/>
        </a:xfrm>
        <a:custGeom>
          <a:avLst/>
          <a:gdLst/>
          <a:ahLst/>
          <a:cxnLst/>
          <a:rect l="0" t="0" r="0" b="0"/>
          <a:pathLst>
            <a:path>
              <a:moveTo>
                <a:pt x="1973066" y="0"/>
              </a:moveTo>
              <a:lnTo>
                <a:pt x="1973066" y="288273"/>
              </a:lnTo>
              <a:lnTo>
                <a:pt x="0" y="288273"/>
              </a:lnTo>
              <a:lnTo>
                <a:pt x="0" y="57654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DBDCC43-6A5A-4C4A-8A82-FD940DE9550E}">
      <dsp:nvSpPr>
        <dsp:cNvPr id="0" name=""/>
        <dsp:cNvSpPr/>
      </dsp:nvSpPr>
      <dsp:spPr>
        <a:xfrm>
          <a:off x="66671" y="1022"/>
          <a:ext cx="9467857" cy="23920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dirty="0">
              <a:latin typeface="+mj-lt"/>
            </a:rPr>
            <a:t>A grant is gift aid that often based on financial need and does not need to be repaid (unless, for example, you withdraw from school and owe a refund). </a:t>
          </a:r>
        </a:p>
      </dsp:txBody>
      <dsp:txXfrm>
        <a:off x="66671" y="1022"/>
        <a:ext cx="9467857" cy="2392078"/>
      </dsp:txXfrm>
    </dsp:sp>
    <dsp:sp modelId="{155F3A6D-C4A2-4091-A8CD-6DAC21F3A908}">
      <dsp:nvSpPr>
        <dsp:cNvPr id="0" name=""/>
        <dsp:cNvSpPr/>
      </dsp:nvSpPr>
      <dsp:spPr>
        <a:xfrm>
          <a:off x="202283" y="2969647"/>
          <a:ext cx="5250500" cy="137273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dirty="0">
              <a:latin typeface="+mj-lt"/>
            </a:rPr>
            <a:t>Washington College Grant</a:t>
          </a:r>
        </a:p>
      </dsp:txBody>
      <dsp:txXfrm>
        <a:off x="202283" y="2969647"/>
        <a:ext cx="5250500" cy="1372730"/>
      </dsp:txXfrm>
    </dsp:sp>
    <dsp:sp modelId="{4EB5A2FE-8C67-416B-A3CA-17867B1EE11B}">
      <dsp:nvSpPr>
        <dsp:cNvPr id="0" name=""/>
        <dsp:cNvSpPr/>
      </dsp:nvSpPr>
      <dsp:spPr>
        <a:xfrm>
          <a:off x="6029330" y="2969647"/>
          <a:ext cx="3369585" cy="137273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n-US" sz="3600" kern="1200" dirty="0">
              <a:latin typeface="+mj-lt"/>
            </a:rPr>
            <a:t>Pell Grant</a:t>
          </a:r>
        </a:p>
      </dsp:txBody>
      <dsp:txXfrm>
        <a:off x="6029330" y="2969647"/>
        <a:ext cx="3369585" cy="13727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AD95CC-3379-4A73-B0BF-72FA9135A68F}">
      <dsp:nvSpPr>
        <dsp:cNvPr id="0" name=""/>
        <dsp:cNvSpPr/>
      </dsp:nvSpPr>
      <dsp:spPr>
        <a:xfrm>
          <a:off x="1164574" y="1591343"/>
          <a:ext cx="1756668" cy="1519589"/>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mj-lt"/>
            </a:rPr>
            <a:t>Work-Study</a:t>
          </a:r>
        </a:p>
      </dsp:txBody>
      <dsp:txXfrm>
        <a:off x="1455679" y="1843160"/>
        <a:ext cx="1174458" cy="1015955"/>
      </dsp:txXfrm>
    </dsp:sp>
    <dsp:sp modelId="{DDA1AB3F-573E-41A2-8EF8-8BE47107F68C}">
      <dsp:nvSpPr>
        <dsp:cNvPr id="0" name=""/>
        <dsp:cNvSpPr/>
      </dsp:nvSpPr>
      <dsp:spPr>
        <a:xfrm>
          <a:off x="561975" y="3893501"/>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89192F7-F7B1-40C9-846A-3396CBDE3119}">
      <dsp:nvSpPr>
        <dsp:cNvPr id="0" name=""/>
        <dsp:cNvSpPr/>
      </dsp:nvSpPr>
      <dsp:spPr>
        <a:xfrm>
          <a:off x="1326388" y="209275"/>
          <a:ext cx="1439577" cy="1245403"/>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i="0" kern="1200" dirty="0">
              <a:latin typeface="+mj-lt"/>
            </a:rPr>
            <a:t>Tutoring</a:t>
          </a:r>
          <a:endParaRPr lang="en-US" sz="1800" b="0" kern="1200" dirty="0">
            <a:latin typeface="+mj-lt"/>
          </a:endParaRPr>
        </a:p>
      </dsp:txBody>
      <dsp:txXfrm>
        <a:off x="1564957" y="415665"/>
        <a:ext cx="962439" cy="832623"/>
      </dsp:txXfrm>
    </dsp:sp>
    <dsp:sp modelId="{D34B6688-F82E-4C7C-BCFC-2034F2DC21B1}">
      <dsp:nvSpPr>
        <dsp:cNvPr id="0" name=""/>
        <dsp:cNvSpPr/>
      </dsp:nvSpPr>
      <dsp:spPr>
        <a:xfrm>
          <a:off x="2828927" y="245426"/>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A57795-2D8B-43B8-A094-8626EE386001}">
      <dsp:nvSpPr>
        <dsp:cNvPr id="0" name=""/>
        <dsp:cNvSpPr/>
      </dsp:nvSpPr>
      <dsp:spPr>
        <a:xfrm>
          <a:off x="2646648" y="975281"/>
          <a:ext cx="1439577" cy="1245403"/>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i="0" kern="1200" dirty="0">
              <a:latin typeface="+mj-lt"/>
            </a:rPr>
            <a:t>Fitness Center</a:t>
          </a:r>
          <a:endParaRPr lang="en-US" sz="1800" b="0" kern="1200" dirty="0">
            <a:latin typeface="+mj-lt"/>
          </a:endParaRPr>
        </a:p>
      </dsp:txBody>
      <dsp:txXfrm>
        <a:off x="2885217" y="1181671"/>
        <a:ext cx="962439" cy="832623"/>
      </dsp:txXfrm>
    </dsp:sp>
    <dsp:sp modelId="{CA4FA584-D59F-4E42-9AC9-20EA9037F5E4}">
      <dsp:nvSpPr>
        <dsp:cNvPr id="0" name=""/>
        <dsp:cNvSpPr/>
      </dsp:nvSpPr>
      <dsp:spPr>
        <a:xfrm>
          <a:off x="605295" y="283527"/>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A92EF8-0821-4686-BF33-32E42AF054E8}">
      <dsp:nvSpPr>
        <dsp:cNvPr id="0" name=""/>
        <dsp:cNvSpPr/>
      </dsp:nvSpPr>
      <dsp:spPr>
        <a:xfrm>
          <a:off x="2646648" y="2481161"/>
          <a:ext cx="1439577" cy="1245403"/>
        </a:xfrm>
        <a:prstGeom prst="hexagon">
          <a:avLst>
            <a:gd name="adj" fmla="val 28570"/>
            <a:gd name="vf" fmla="val 1154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mj-lt"/>
            </a:rPr>
            <a:t>Library</a:t>
          </a:r>
        </a:p>
      </dsp:txBody>
      <dsp:txXfrm>
        <a:off x="2885217" y="2687551"/>
        <a:ext cx="962439" cy="832623"/>
      </dsp:txXfrm>
    </dsp:sp>
    <dsp:sp modelId="{3C490377-36B7-49B8-804F-F33DDEB03D3D}">
      <dsp:nvSpPr>
        <dsp:cNvPr id="0" name=""/>
        <dsp:cNvSpPr/>
      </dsp:nvSpPr>
      <dsp:spPr>
        <a:xfrm>
          <a:off x="596343" y="3874455"/>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306791-AD59-4F1E-86E4-264DF306853A}">
      <dsp:nvSpPr>
        <dsp:cNvPr id="0" name=""/>
        <dsp:cNvSpPr/>
      </dsp:nvSpPr>
      <dsp:spPr>
        <a:xfrm>
          <a:off x="1326388" y="3248025"/>
          <a:ext cx="1439577" cy="1245403"/>
        </a:xfrm>
        <a:prstGeom prst="hexagon">
          <a:avLst>
            <a:gd name="adj" fmla="val 28570"/>
            <a:gd name="vf" fmla="val 1154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i="0" kern="1200" dirty="0">
              <a:latin typeface="+mj-lt"/>
            </a:rPr>
            <a:t>Computer Lab</a:t>
          </a:r>
          <a:endParaRPr lang="en-US" sz="1800" b="0" kern="1200" dirty="0">
            <a:latin typeface="+mj-lt"/>
          </a:endParaRPr>
        </a:p>
      </dsp:txBody>
      <dsp:txXfrm>
        <a:off x="1564957" y="3454415"/>
        <a:ext cx="962439" cy="832623"/>
      </dsp:txXfrm>
    </dsp:sp>
    <dsp:sp modelId="{851CCD39-6205-428F-8D61-A00C0FB47947}">
      <dsp:nvSpPr>
        <dsp:cNvPr id="0" name=""/>
        <dsp:cNvSpPr/>
      </dsp:nvSpPr>
      <dsp:spPr>
        <a:xfrm>
          <a:off x="2781952" y="3883976"/>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535155-AEA2-446C-9AB5-ECE52B558BED}">
      <dsp:nvSpPr>
        <dsp:cNvPr id="0" name=""/>
        <dsp:cNvSpPr/>
      </dsp:nvSpPr>
      <dsp:spPr>
        <a:xfrm>
          <a:off x="0" y="2482018"/>
          <a:ext cx="1439577" cy="1245403"/>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mj-lt"/>
            </a:rPr>
            <a:t>Student Life</a:t>
          </a:r>
        </a:p>
      </dsp:txBody>
      <dsp:txXfrm>
        <a:off x="238569" y="2688408"/>
        <a:ext cx="962439" cy="832623"/>
      </dsp:txXfrm>
    </dsp:sp>
    <dsp:sp modelId="{D39CC2E8-C032-44BA-90D8-989F6976E989}">
      <dsp:nvSpPr>
        <dsp:cNvPr id="0" name=""/>
        <dsp:cNvSpPr/>
      </dsp:nvSpPr>
      <dsp:spPr>
        <a:xfrm>
          <a:off x="0" y="973568"/>
          <a:ext cx="1439577" cy="1245403"/>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latin typeface="+mj-lt"/>
            </a:rPr>
            <a:t>Outreach</a:t>
          </a:r>
        </a:p>
      </dsp:txBody>
      <dsp:txXfrm>
        <a:off x="238569" y="1179958"/>
        <a:ext cx="962439" cy="83262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550EFE-7958-4EA8-A79B-4AA57AFEEB79}">
      <dsp:nvSpPr>
        <dsp:cNvPr id="0" name=""/>
        <dsp:cNvSpPr/>
      </dsp:nvSpPr>
      <dsp:spPr>
        <a:xfrm>
          <a:off x="0" y="13207"/>
          <a:ext cx="5041526" cy="8611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b="1" i="0" kern="1200" dirty="0">
              <a:latin typeface="+mj-lt"/>
            </a:rPr>
            <a:t>Unsubsidized Student Loans</a:t>
          </a:r>
          <a:endParaRPr lang="en-US" sz="3000" kern="1200" dirty="0">
            <a:latin typeface="+mj-lt"/>
          </a:endParaRPr>
        </a:p>
      </dsp:txBody>
      <dsp:txXfrm>
        <a:off x="42036" y="55243"/>
        <a:ext cx="4957454" cy="777048"/>
      </dsp:txXfrm>
    </dsp:sp>
    <dsp:sp modelId="{54A67035-7B08-4D46-833A-6B8FAB3C195A}">
      <dsp:nvSpPr>
        <dsp:cNvPr id="0" name=""/>
        <dsp:cNvSpPr/>
      </dsp:nvSpPr>
      <dsp:spPr>
        <a:xfrm>
          <a:off x="0" y="874327"/>
          <a:ext cx="5041526" cy="14759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68"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b="0" i="0" kern="1200" dirty="0">
              <a:latin typeface="+mj-lt"/>
            </a:rPr>
            <a:t>Interest begins accruing as soon as the loan is disbursed, including while you are enrolled in school.</a:t>
          </a:r>
          <a:endParaRPr lang="en-US" sz="2800" b="0" kern="1200" dirty="0">
            <a:latin typeface="+mj-lt"/>
          </a:endParaRPr>
        </a:p>
      </dsp:txBody>
      <dsp:txXfrm>
        <a:off x="0" y="874327"/>
        <a:ext cx="5041526" cy="1475910"/>
      </dsp:txXfrm>
    </dsp:sp>
    <dsp:sp modelId="{D478C151-A290-4664-A73C-35101A3E79D8}">
      <dsp:nvSpPr>
        <dsp:cNvPr id="0" name=""/>
        <dsp:cNvSpPr/>
      </dsp:nvSpPr>
      <dsp:spPr>
        <a:xfrm>
          <a:off x="0" y="2350237"/>
          <a:ext cx="5041526" cy="8611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b="1" i="0" kern="1200" dirty="0">
              <a:latin typeface="+mj-lt"/>
            </a:rPr>
            <a:t>Subsidized Student Loans</a:t>
          </a:r>
          <a:endParaRPr lang="en-US" sz="3000" kern="1200" dirty="0">
            <a:latin typeface="+mj-lt"/>
          </a:endParaRPr>
        </a:p>
      </dsp:txBody>
      <dsp:txXfrm>
        <a:off x="42036" y="2392273"/>
        <a:ext cx="4957454" cy="777048"/>
      </dsp:txXfrm>
    </dsp:sp>
    <dsp:sp modelId="{A01841C7-8E11-4FBD-A285-CA7FC40C9FCE}">
      <dsp:nvSpPr>
        <dsp:cNvPr id="0" name=""/>
        <dsp:cNvSpPr/>
      </dsp:nvSpPr>
      <dsp:spPr>
        <a:xfrm>
          <a:off x="0" y="3211357"/>
          <a:ext cx="5041526" cy="11188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68" tIns="35560" rIns="199136" bIns="35560" numCol="1" spcCol="1270" anchor="t" anchorCtr="0">
          <a:noAutofit/>
        </a:bodyPr>
        <a:lstStyle/>
        <a:p>
          <a:pPr marL="285750" lvl="1" indent="-285750" algn="l" defTabSz="1244600">
            <a:lnSpc>
              <a:spcPct val="90000"/>
            </a:lnSpc>
            <a:spcBef>
              <a:spcPct val="0"/>
            </a:spcBef>
            <a:spcAft>
              <a:spcPct val="20000"/>
            </a:spcAft>
            <a:buChar char="•"/>
          </a:pPr>
          <a:r>
            <a:rPr lang="en-US" sz="2800" b="0" i="0" kern="1200" dirty="0">
              <a:latin typeface="+mj-lt"/>
            </a:rPr>
            <a:t>Interest is paid by while you're enrolled at least half time in college.</a:t>
          </a:r>
          <a:endParaRPr lang="en-US" sz="2800" kern="1200" dirty="0">
            <a:latin typeface="+mj-lt"/>
          </a:endParaRPr>
        </a:p>
      </dsp:txBody>
      <dsp:txXfrm>
        <a:off x="0" y="3211357"/>
        <a:ext cx="5041526" cy="111883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10AE1-69D9-42C2-9773-05B1C35383B0}">
      <dsp:nvSpPr>
        <dsp:cNvPr id="0" name=""/>
        <dsp:cNvSpPr/>
      </dsp:nvSpPr>
      <dsp:spPr>
        <a:xfrm>
          <a:off x="348520" y="1093"/>
          <a:ext cx="2069367" cy="817841"/>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34290" rIns="51435" bIns="3429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mj-lt"/>
            </a:rPr>
            <a:t>Federal</a:t>
          </a:r>
        </a:p>
      </dsp:txBody>
      <dsp:txXfrm>
        <a:off x="372474" y="25047"/>
        <a:ext cx="2021459" cy="769933"/>
      </dsp:txXfrm>
    </dsp:sp>
    <dsp:sp modelId="{7F2C5509-B3AB-4E34-9F41-E3D68B8AFF02}">
      <dsp:nvSpPr>
        <dsp:cNvPr id="0" name=""/>
        <dsp:cNvSpPr/>
      </dsp:nvSpPr>
      <dsp:spPr>
        <a:xfrm>
          <a:off x="555457" y="818934"/>
          <a:ext cx="206936" cy="1100401"/>
        </a:xfrm>
        <a:custGeom>
          <a:avLst/>
          <a:gdLst/>
          <a:ahLst/>
          <a:cxnLst/>
          <a:rect l="0" t="0" r="0" b="0"/>
          <a:pathLst>
            <a:path>
              <a:moveTo>
                <a:pt x="0" y="0"/>
              </a:moveTo>
              <a:lnTo>
                <a:pt x="0" y="1100401"/>
              </a:lnTo>
              <a:lnTo>
                <a:pt x="206936" y="110040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3E682CF-BBF2-40DE-ABA7-000F35119828}">
      <dsp:nvSpPr>
        <dsp:cNvPr id="0" name=""/>
        <dsp:cNvSpPr/>
      </dsp:nvSpPr>
      <dsp:spPr>
        <a:xfrm>
          <a:off x="762394" y="1023395"/>
          <a:ext cx="2086934" cy="1791882"/>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Typically can be used at most schools in most states.</a:t>
          </a:r>
        </a:p>
      </dsp:txBody>
      <dsp:txXfrm>
        <a:off x="814876" y="1075877"/>
        <a:ext cx="1981970" cy="1686918"/>
      </dsp:txXfrm>
    </dsp:sp>
    <dsp:sp modelId="{6AD835E1-9AE2-4D4C-8A3D-F7C66F8A7F11}">
      <dsp:nvSpPr>
        <dsp:cNvPr id="0" name=""/>
        <dsp:cNvSpPr/>
      </dsp:nvSpPr>
      <dsp:spPr>
        <a:xfrm>
          <a:off x="2844376" y="1093"/>
          <a:ext cx="2069367" cy="817841"/>
        </a:xfrm>
        <a:prstGeom prst="roundRect">
          <a:avLst>
            <a:gd name="adj" fmla="val 10000"/>
          </a:avLst>
        </a:prstGeom>
        <a:solidFill>
          <a:schemeClr val="accent4">
            <a:hueOff val="-4247863"/>
            <a:satOff val="22459"/>
            <a:lumOff val="-63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34290" rIns="51435" bIns="3429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mj-lt"/>
            </a:rPr>
            <a:t>State</a:t>
          </a:r>
        </a:p>
      </dsp:txBody>
      <dsp:txXfrm>
        <a:off x="2868330" y="25047"/>
        <a:ext cx="2021459" cy="769933"/>
      </dsp:txXfrm>
    </dsp:sp>
    <dsp:sp modelId="{63D3099D-C34B-41C6-8067-A56413AD8DA6}">
      <dsp:nvSpPr>
        <dsp:cNvPr id="0" name=""/>
        <dsp:cNvSpPr/>
      </dsp:nvSpPr>
      <dsp:spPr>
        <a:xfrm>
          <a:off x="3051313" y="818934"/>
          <a:ext cx="206936" cy="1104592"/>
        </a:xfrm>
        <a:custGeom>
          <a:avLst/>
          <a:gdLst/>
          <a:ahLst/>
          <a:cxnLst/>
          <a:rect l="0" t="0" r="0" b="0"/>
          <a:pathLst>
            <a:path>
              <a:moveTo>
                <a:pt x="0" y="0"/>
              </a:moveTo>
              <a:lnTo>
                <a:pt x="0" y="1104592"/>
              </a:lnTo>
              <a:lnTo>
                <a:pt x="206936" y="110459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232898-B55B-40CD-A813-44794CD31F96}">
      <dsp:nvSpPr>
        <dsp:cNvPr id="0" name=""/>
        <dsp:cNvSpPr/>
      </dsp:nvSpPr>
      <dsp:spPr>
        <a:xfrm>
          <a:off x="3258250" y="1023395"/>
          <a:ext cx="2086934" cy="1800265"/>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4247863"/>
              <a:satOff val="22459"/>
              <a:lumOff val="-634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Typically for residents to attend most colleges in the state.</a:t>
          </a:r>
          <a:endParaRPr lang="en-US" sz="1800" kern="1200" dirty="0">
            <a:latin typeface="+mj-lt"/>
          </a:endParaRPr>
        </a:p>
      </dsp:txBody>
      <dsp:txXfrm>
        <a:off x="3310978" y="1076123"/>
        <a:ext cx="1981478" cy="1694809"/>
      </dsp:txXfrm>
    </dsp:sp>
    <dsp:sp modelId="{23313EEC-3C0E-4986-8BF5-3ED6E774324B}">
      <dsp:nvSpPr>
        <dsp:cNvPr id="0" name=""/>
        <dsp:cNvSpPr/>
      </dsp:nvSpPr>
      <dsp:spPr>
        <a:xfrm>
          <a:off x="5340232" y="1093"/>
          <a:ext cx="2069367" cy="817841"/>
        </a:xfrm>
        <a:prstGeom prst="roundRect">
          <a:avLst>
            <a:gd name="adj" fmla="val 10000"/>
          </a:avLst>
        </a:prstGeom>
        <a:solidFill>
          <a:schemeClr val="accent4">
            <a:hueOff val="-8495727"/>
            <a:satOff val="44918"/>
            <a:lumOff val="-126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34290" rIns="51435" bIns="3429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mj-lt"/>
            </a:rPr>
            <a:t>College</a:t>
          </a:r>
        </a:p>
      </dsp:txBody>
      <dsp:txXfrm>
        <a:off x="5364186" y="25047"/>
        <a:ext cx="2021459" cy="769933"/>
      </dsp:txXfrm>
    </dsp:sp>
    <dsp:sp modelId="{16526CF6-477B-4541-B13B-3DAF1D17912F}">
      <dsp:nvSpPr>
        <dsp:cNvPr id="0" name=""/>
        <dsp:cNvSpPr/>
      </dsp:nvSpPr>
      <dsp:spPr>
        <a:xfrm>
          <a:off x="5547168" y="818934"/>
          <a:ext cx="206936" cy="1100401"/>
        </a:xfrm>
        <a:custGeom>
          <a:avLst/>
          <a:gdLst/>
          <a:ahLst/>
          <a:cxnLst/>
          <a:rect l="0" t="0" r="0" b="0"/>
          <a:pathLst>
            <a:path>
              <a:moveTo>
                <a:pt x="0" y="0"/>
              </a:moveTo>
              <a:lnTo>
                <a:pt x="0" y="1100401"/>
              </a:lnTo>
              <a:lnTo>
                <a:pt x="206936" y="110040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619FF26-7A0B-4F20-B855-5BC1489202DD}">
      <dsp:nvSpPr>
        <dsp:cNvPr id="0" name=""/>
        <dsp:cNvSpPr/>
      </dsp:nvSpPr>
      <dsp:spPr>
        <a:xfrm>
          <a:off x="5754105" y="1023395"/>
          <a:ext cx="2086934" cy="1791882"/>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8495727"/>
              <a:satOff val="44918"/>
              <a:lumOff val="-126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Offered by a specific school to attend that school.</a:t>
          </a:r>
        </a:p>
      </dsp:txBody>
      <dsp:txXfrm>
        <a:off x="5806587" y="1075877"/>
        <a:ext cx="1981970" cy="1686918"/>
      </dsp:txXfrm>
    </dsp:sp>
    <dsp:sp modelId="{29E0B27F-91C2-44E2-BAE1-9233A0399307}">
      <dsp:nvSpPr>
        <dsp:cNvPr id="0" name=""/>
        <dsp:cNvSpPr/>
      </dsp:nvSpPr>
      <dsp:spPr>
        <a:xfrm>
          <a:off x="7836087" y="1093"/>
          <a:ext cx="2069367" cy="817841"/>
        </a:xfrm>
        <a:prstGeom prst="roundRect">
          <a:avLst>
            <a:gd name="adj" fmla="val 10000"/>
          </a:avLst>
        </a:prstGeom>
        <a:solidFill>
          <a:schemeClr val="accent4">
            <a:hueOff val="-12743589"/>
            <a:satOff val="67377"/>
            <a:lumOff val="-190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34290" rIns="51435" bIns="34290" numCol="1" spcCol="1270" anchor="ctr" anchorCtr="0">
          <a:noAutofit/>
        </a:bodyPr>
        <a:lstStyle/>
        <a:p>
          <a:pPr marL="0" lvl="0" indent="0" algn="ctr" defTabSz="1200150">
            <a:lnSpc>
              <a:spcPct val="90000"/>
            </a:lnSpc>
            <a:spcBef>
              <a:spcPct val="0"/>
            </a:spcBef>
            <a:spcAft>
              <a:spcPct val="35000"/>
            </a:spcAft>
            <a:buNone/>
          </a:pPr>
          <a:r>
            <a:rPr lang="en-US" sz="2700" kern="1200" dirty="0">
              <a:latin typeface="+mj-lt"/>
            </a:rPr>
            <a:t>Organizations</a:t>
          </a:r>
        </a:p>
      </dsp:txBody>
      <dsp:txXfrm>
        <a:off x="7860041" y="25047"/>
        <a:ext cx="2021459" cy="769933"/>
      </dsp:txXfrm>
    </dsp:sp>
    <dsp:sp modelId="{AAF5AE57-3B47-4FEA-84EE-204B5956864B}">
      <dsp:nvSpPr>
        <dsp:cNvPr id="0" name=""/>
        <dsp:cNvSpPr/>
      </dsp:nvSpPr>
      <dsp:spPr>
        <a:xfrm>
          <a:off x="8043024" y="818934"/>
          <a:ext cx="206936" cy="1100401"/>
        </a:xfrm>
        <a:custGeom>
          <a:avLst/>
          <a:gdLst/>
          <a:ahLst/>
          <a:cxnLst/>
          <a:rect l="0" t="0" r="0" b="0"/>
          <a:pathLst>
            <a:path>
              <a:moveTo>
                <a:pt x="0" y="0"/>
              </a:moveTo>
              <a:lnTo>
                <a:pt x="0" y="1100401"/>
              </a:lnTo>
              <a:lnTo>
                <a:pt x="206936" y="1100401"/>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B7D80F9-C166-44E5-86FB-FB4EA25359C3}">
      <dsp:nvSpPr>
        <dsp:cNvPr id="0" name=""/>
        <dsp:cNvSpPr/>
      </dsp:nvSpPr>
      <dsp:spPr>
        <a:xfrm>
          <a:off x="8249961" y="1023395"/>
          <a:ext cx="2086934" cy="1791882"/>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12743589"/>
              <a:satOff val="67377"/>
              <a:lumOff val="-190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mj-lt"/>
            </a:rPr>
            <a:t>Offered by non-profits, business, churches, etc.</a:t>
          </a:r>
        </a:p>
      </dsp:txBody>
      <dsp:txXfrm>
        <a:off x="8302443" y="1075877"/>
        <a:ext cx="1981970" cy="168691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D1DB7A-2623-4E40-8A97-21F71B94694E}">
      <dsp:nvSpPr>
        <dsp:cNvPr id="0" name=""/>
        <dsp:cNvSpPr/>
      </dsp:nvSpPr>
      <dsp:spPr>
        <a:xfrm>
          <a:off x="0" y="3726"/>
          <a:ext cx="5705855" cy="7113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Pell Grant</a:t>
          </a:r>
        </a:p>
      </dsp:txBody>
      <dsp:txXfrm>
        <a:off x="34726" y="38452"/>
        <a:ext cx="5636403" cy="641908"/>
      </dsp:txXfrm>
    </dsp:sp>
    <dsp:sp modelId="{855489E8-F248-45DB-B8B1-75DDA1E139AD}">
      <dsp:nvSpPr>
        <dsp:cNvPr id="0" name=""/>
        <dsp:cNvSpPr/>
      </dsp:nvSpPr>
      <dsp:spPr>
        <a:xfrm>
          <a:off x="0" y="824526"/>
          <a:ext cx="5705855" cy="7113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Federal Work-Study</a:t>
          </a:r>
        </a:p>
      </dsp:txBody>
      <dsp:txXfrm>
        <a:off x="34726" y="859252"/>
        <a:ext cx="5636403" cy="641908"/>
      </dsp:txXfrm>
    </dsp:sp>
    <dsp:sp modelId="{CD12BA3A-2F4C-4219-A6A1-F4EEC1981CEB}">
      <dsp:nvSpPr>
        <dsp:cNvPr id="0" name=""/>
        <dsp:cNvSpPr/>
      </dsp:nvSpPr>
      <dsp:spPr>
        <a:xfrm>
          <a:off x="0" y="1645326"/>
          <a:ext cx="5705855" cy="7113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Unsubsidized/Subsidized Student Loans</a:t>
          </a:r>
        </a:p>
      </dsp:txBody>
      <dsp:txXfrm>
        <a:off x="34726" y="1680052"/>
        <a:ext cx="5636403" cy="641908"/>
      </dsp:txXfrm>
    </dsp:sp>
    <dsp:sp modelId="{5AB01CB7-F3BC-41D1-B5E8-A88309A4CF61}">
      <dsp:nvSpPr>
        <dsp:cNvPr id="0" name=""/>
        <dsp:cNvSpPr/>
      </dsp:nvSpPr>
      <dsp:spPr>
        <a:xfrm>
          <a:off x="0" y="2466126"/>
          <a:ext cx="5705855" cy="71136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Parent Loans</a:t>
          </a:r>
        </a:p>
      </dsp:txBody>
      <dsp:txXfrm>
        <a:off x="34726" y="2500852"/>
        <a:ext cx="5636403" cy="64190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90C0F-8546-40EC-955C-8E30C8FA0D29}">
      <dsp:nvSpPr>
        <dsp:cNvPr id="0" name=""/>
        <dsp:cNvSpPr/>
      </dsp:nvSpPr>
      <dsp:spPr>
        <a:xfrm>
          <a:off x="0" y="0"/>
          <a:ext cx="5162551" cy="9476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Washington College Grant             (also known as the WA Grant)</a:t>
          </a:r>
        </a:p>
      </dsp:txBody>
      <dsp:txXfrm>
        <a:off x="46263" y="46263"/>
        <a:ext cx="5070025" cy="855173"/>
      </dsp:txXfrm>
    </dsp:sp>
    <dsp:sp modelId="{D4F96D99-37BD-481E-BB4A-A5B6CDCAF097}">
      <dsp:nvSpPr>
        <dsp:cNvPr id="0" name=""/>
        <dsp:cNvSpPr/>
      </dsp:nvSpPr>
      <dsp:spPr>
        <a:xfrm>
          <a:off x="0" y="983496"/>
          <a:ext cx="5162551" cy="9476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College Bound Scholarship</a:t>
          </a:r>
        </a:p>
      </dsp:txBody>
      <dsp:txXfrm>
        <a:off x="46263" y="1029759"/>
        <a:ext cx="5070025" cy="855173"/>
      </dsp:txXfrm>
    </dsp:sp>
    <dsp:sp modelId="{FDCC5EB3-5440-4D22-8B0E-23E0348BED7D}">
      <dsp:nvSpPr>
        <dsp:cNvPr id="0" name=""/>
        <dsp:cNvSpPr/>
      </dsp:nvSpPr>
      <dsp:spPr>
        <a:xfrm>
          <a:off x="0" y="1957116"/>
          <a:ext cx="5162551" cy="9476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State Work-Study</a:t>
          </a:r>
        </a:p>
      </dsp:txBody>
      <dsp:txXfrm>
        <a:off x="46263" y="2003379"/>
        <a:ext cx="5070025" cy="855173"/>
      </dsp:txXfrm>
    </dsp:sp>
    <dsp:sp modelId="{86B1EE22-7404-4D82-9598-047F608C0404}">
      <dsp:nvSpPr>
        <dsp:cNvPr id="0" name=""/>
        <dsp:cNvSpPr/>
      </dsp:nvSpPr>
      <dsp:spPr>
        <a:xfrm>
          <a:off x="0" y="2930736"/>
          <a:ext cx="5162551" cy="9476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Passport to Careers</a:t>
          </a:r>
        </a:p>
      </dsp:txBody>
      <dsp:txXfrm>
        <a:off x="46263" y="2976999"/>
        <a:ext cx="5070025" cy="855173"/>
      </dsp:txXfrm>
    </dsp:sp>
    <dsp:sp modelId="{A80CE770-6EF5-4476-B603-24C453019235}">
      <dsp:nvSpPr>
        <dsp:cNvPr id="0" name=""/>
        <dsp:cNvSpPr/>
      </dsp:nvSpPr>
      <dsp:spPr>
        <a:xfrm>
          <a:off x="0" y="3904356"/>
          <a:ext cx="5162551" cy="9476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dirty="0">
              <a:latin typeface="+mj-lt"/>
            </a:rPr>
            <a:t>Opportunity Grant</a:t>
          </a:r>
        </a:p>
      </dsp:txBody>
      <dsp:txXfrm>
        <a:off x="46263" y="3950619"/>
        <a:ext cx="5070025" cy="85517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450EA1-9FBD-453D-ACC2-A772BA55C55C}">
      <dsp:nvSpPr>
        <dsp:cNvPr id="0" name=""/>
        <dsp:cNvSpPr/>
      </dsp:nvSpPr>
      <dsp:spPr>
        <a:xfrm>
          <a:off x="3975" y="87666"/>
          <a:ext cx="3412504" cy="280800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1376" tIns="341376" rIns="341376" bIns="182880" numCol="1" spcCol="1270" anchor="t" anchorCtr="0">
          <a:noAutofit/>
        </a:bodyPr>
        <a:lstStyle/>
        <a:p>
          <a:pPr marL="0" lvl="0" indent="0" algn="l" defTabSz="2133600">
            <a:lnSpc>
              <a:spcPct val="90000"/>
            </a:lnSpc>
            <a:spcBef>
              <a:spcPct val="0"/>
            </a:spcBef>
            <a:spcAft>
              <a:spcPct val="35000"/>
            </a:spcAft>
            <a:buNone/>
          </a:pPr>
          <a:r>
            <a:rPr lang="en-US" sz="4800" b="1" i="1" kern="1200">
              <a:latin typeface="Tw Cen MT" panose="020B0602020104020603" pitchFamily="34" charset="0"/>
            </a:rPr>
            <a:t>Step</a:t>
          </a:r>
          <a:r>
            <a:rPr lang="en-US" sz="6000" kern="1200"/>
            <a:t> </a:t>
          </a:r>
          <a:r>
            <a:rPr lang="en-US" sz="4800" b="1" i="1" kern="1200">
              <a:latin typeface="Tw Cen MT" panose="020B0602020104020603" pitchFamily="34" charset="0"/>
            </a:rPr>
            <a:t>One</a:t>
          </a:r>
        </a:p>
      </dsp:txBody>
      <dsp:txXfrm>
        <a:off x="3975" y="87666"/>
        <a:ext cx="3412504" cy="1365001"/>
      </dsp:txXfrm>
    </dsp:sp>
    <dsp:sp modelId="{D42AD493-D081-4404-AEFE-F056A8EB8991}">
      <dsp:nvSpPr>
        <dsp:cNvPr id="0" name=""/>
        <dsp:cNvSpPr/>
      </dsp:nvSpPr>
      <dsp:spPr>
        <a:xfrm>
          <a:off x="702921" y="1452667"/>
          <a:ext cx="3412504" cy="3744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a:solidFill>
                <a:srgbClr val="02060A"/>
              </a:solidFill>
              <a:latin typeface="Tw Cen MT" panose="020B0602020104020603" pitchFamily="34" charset="0"/>
            </a:rPr>
            <a:t>Auto-enrollment for eligible public-school students. </a:t>
          </a:r>
        </a:p>
        <a:p>
          <a:pPr marL="228600" lvl="1" indent="-228600" algn="l" defTabSz="1066800">
            <a:lnSpc>
              <a:spcPct val="90000"/>
            </a:lnSpc>
            <a:spcBef>
              <a:spcPct val="0"/>
            </a:spcBef>
            <a:spcAft>
              <a:spcPct val="15000"/>
            </a:spcAft>
            <a:buChar char="•"/>
          </a:pPr>
          <a:r>
            <a:rPr lang="en-US" sz="2400" kern="1200">
              <a:solidFill>
                <a:srgbClr val="02060A"/>
              </a:solidFill>
              <a:latin typeface="Tw Cen MT" panose="020B0602020104020603" pitchFamily="34" charset="0"/>
            </a:rPr>
            <a:t>Eligible for FRPL in 7</a:t>
          </a:r>
          <a:r>
            <a:rPr lang="en-US" sz="2400" kern="1200" baseline="0">
              <a:solidFill>
                <a:srgbClr val="02060A"/>
              </a:solidFill>
              <a:latin typeface="Tw Cen MT" panose="020B0602020104020603" pitchFamily="34" charset="0"/>
            </a:rPr>
            <a:t>th</a:t>
          </a:r>
          <a:r>
            <a:rPr lang="en-US" sz="2400" kern="1200">
              <a:solidFill>
                <a:srgbClr val="02060A"/>
              </a:solidFill>
              <a:latin typeface="Tw Cen MT" panose="020B0602020104020603" pitchFamily="34" charset="0"/>
            </a:rPr>
            <a:t>, 8</a:t>
          </a:r>
          <a:r>
            <a:rPr lang="en-US" sz="2400" kern="1200" baseline="0">
              <a:solidFill>
                <a:srgbClr val="02060A"/>
              </a:solidFill>
              <a:latin typeface="Tw Cen MT" panose="020B0602020104020603" pitchFamily="34" charset="0"/>
            </a:rPr>
            <a:t>th</a:t>
          </a:r>
          <a:r>
            <a:rPr lang="en-US" sz="2400" kern="1200">
              <a:solidFill>
                <a:srgbClr val="02060A"/>
              </a:solidFill>
              <a:latin typeface="Tw Cen MT" panose="020B0602020104020603" pitchFamily="34" charset="0"/>
            </a:rPr>
            <a:t>, or newly eligible in 9</a:t>
          </a:r>
          <a:r>
            <a:rPr lang="en-US" sz="2400" kern="1200" baseline="0">
              <a:solidFill>
                <a:srgbClr val="02060A"/>
              </a:solidFill>
              <a:latin typeface="Tw Cen MT" panose="020B0602020104020603" pitchFamily="34" charset="0"/>
            </a:rPr>
            <a:t>th</a:t>
          </a:r>
          <a:r>
            <a:rPr lang="en-US" sz="2400" kern="1200">
              <a:solidFill>
                <a:srgbClr val="02060A"/>
              </a:solidFill>
              <a:latin typeface="Tw Cen MT" panose="020B0602020104020603" pitchFamily="34" charset="0"/>
            </a:rPr>
            <a:t> grade.  </a:t>
          </a:r>
        </a:p>
        <a:p>
          <a:pPr marL="228600" lvl="1" indent="-228600" algn="l" defTabSz="1066800">
            <a:lnSpc>
              <a:spcPct val="90000"/>
            </a:lnSpc>
            <a:spcBef>
              <a:spcPct val="0"/>
            </a:spcBef>
            <a:spcAft>
              <a:spcPct val="15000"/>
            </a:spcAft>
            <a:buChar char="•"/>
          </a:pPr>
          <a:r>
            <a:rPr lang="en-US" sz="2400" kern="1200">
              <a:solidFill>
                <a:srgbClr val="02060A"/>
              </a:solidFill>
              <a:latin typeface="Tw Cen MT" panose="020B0602020104020603" pitchFamily="34" charset="0"/>
            </a:rPr>
            <a:t>Foster Youth are auto-enrolled through HS graduation.</a:t>
          </a:r>
        </a:p>
      </dsp:txBody>
      <dsp:txXfrm>
        <a:off x="802870" y="1552616"/>
        <a:ext cx="3212606" cy="3544102"/>
      </dsp:txXfrm>
    </dsp:sp>
    <dsp:sp modelId="{E82F2CE7-4C1A-497F-BB88-DEF090CAF98F}">
      <dsp:nvSpPr>
        <dsp:cNvPr id="0" name=""/>
        <dsp:cNvSpPr/>
      </dsp:nvSpPr>
      <dsp:spPr>
        <a:xfrm>
          <a:off x="3933803" y="345359"/>
          <a:ext cx="1096725" cy="84961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44650">
            <a:lnSpc>
              <a:spcPct val="90000"/>
            </a:lnSpc>
            <a:spcBef>
              <a:spcPct val="0"/>
            </a:spcBef>
            <a:spcAft>
              <a:spcPct val="35000"/>
            </a:spcAft>
            <a:buNone/>
          </a:pPr>
          <a:endParaRPr lang="en-US" sz="3700" kern="1200"/>
        </a:p>
      </dsp:txBody>
      <dsp:txXfrm>
        <a:off x="3933803" y="515282"/>
        <a:ext cx="841841" cy="509768"/>
      </dsp:txXfrm>
    </dsp:sp>
    <dsp:sp modelId="{40E1B13B-2A28-4B8C-A623-EDD296FBB21D}">
      <dsp:nvSpPr>
        <dsp:cNvPr id="0" name=""/>
        <dsp:cNvSpPr/>
      </dsp:nvSpPr>
      <dsp:spPr>
        <a:xfrm>
          <a:off x="5485773" y="87666"/>
          <a:ext cx="3412504" cy="28080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1376" tIns="341376" rIns="341376" bIns="182880" numCol="1" spcCol="1270" anchor="t" anchorCtr="0">
          <a:noAutofit/>
        </a:bodyPr>
        <a:lstStyle/>
        <a:p>
          <a:pPr marL="0" lvl="0" indent="0" algn="l" defTabSz="2133600">
            <a:lnSpc>
              <a:spcPct val="90000"/>
            </a:lnSpc>
            <a:spcBef>
              <a:spcPct val="0"/>
            </a:spcBef>
            <a:spcAft>
              <a:spcPct val="35000"/>
            </a:spcAft>
            <a:buNone/>
          </a:pPr>
          <a:r>
            <a:rPr lang="en-US" sz="4800" b="1" i="1" kern="1200">
              <a:latin typeface="Tw Cen MT" panose="020B0602020104020603" pitchFamily="34" charset="0"/>
            </a:rPr>
            <a:t>Step Two </a:t>
          </a:r>
          <a:endParaRPr lang="en-US" sz="4800" kern="1200">
            <a:latin typeface="Tw Cen MT" panose="020B0602020104020603" pitchFamily="34" charset="0"/>
          </a:endParaRPr>
        </a:p>
      </dsp:txBody>
      <dsp:txXfrm>
        <a:off x="5485773" y="87666"/>
        <a:ext cx="3412504" cy="1365001"/>
      </dsp:txXfrm>
    </dsp:sp>
    <dsp:sp modelId="{9918773F-4A5D-45FF-B7C2-BFD1C22A9343}">
      <dsp:nvSpPr>
        <dsp:cNvPr id="0" name=""/>
        <dsp:cNvSpPr/>
      </dsp:nvSpPr>
      <dsp:spPr>
        <a:xfrm>
          <a:off x="6184720" y="1452667"/>
          <a:ext cx="3412504" cy="3744000"/>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70688" rIns="170688" bIns="170688" numCol="1" spcCol="1270" anchor="t" anchorCtr="0">
          <a:noAutofit/>
        </a:bodyPr>
        <a:lstStyle/>
        <a:p>
          <a:pPr marL="228600" lvl="1" indent="-228600" algn="l" defTabSz="1066800">
            <a:lnSpc>
              <a:spcPct val="90000"/>
            </a:lnSpc>
            <a:spcBef>
              <a:spcPct val="0"/>
            </a:spcBef>
            <a:spcAft>
              <a:spcPct val="15000"/>
            </a:spcAft>
            <a:buChar char="•"/>
          </a:pPr>
          <a:r>
            <a:rPr lang="en-US" sz="2400" kern="1200">
              <a:solidFill>
                <a:srgbClr val="02060A"/>
              </a:solidFill>
              <a:latin typeface="Tw Cen MT" panose="020B0602020104020603" pitchFamily="34" charset="0"/>
            </a:rPr>
            <a:t>Fulfill the College Bound Pledge.</a:t>
          </a:r>
        </a:p>
        <a:p>
          <a:pPr marL="228600" lvl="1" indent="-228600" algn="l" defTabSz="1066800">
            <a:lnSpc>
              <a:spcPct val="90000"/>
            </a:lnSpc>
            <a:spcBef>
              <a:spcPct val="0"/>
            </a:spcBef>
            <a:spcAft>
              <a:spcPct val="15000"/>
            </a:spcAft>
            <a:buChar char="•"/>
          </a:pPr>
          <a:r>
            <a:rPr lang="en-US" sz="2400" kern="1200">
              <a:solidFill>
                <a:srgbClr val="02060A"/>
              </a:solidFill>
              <a:latin typeface="Tw Cen MT" panose="020B0602020104020603" pitchFamily="34" charset="0"/>
            </a:rPr>
            <a:t>Meet income and residency requirements. </a:t>
          </a:r>
        </a:p>
        <a:p>
          <a:pPr marL="228600" lvl="1" indent="-228600" algn="l" defTabSz="1066800">
            <a:lnSpc>
              <a:spcPct val="90000"/>
            </a:lnSpc>
            <a:spcBef>
              <a:spcPct val="0"/>
            </a:spcBef>
            <a:spcAft>
              <a:spcPct val="15000"/>
            </a:spcAft>
            <a:buChar char="•"/>
          </a:pPr>
          <a:r>
            <a:rPr lang="en-US" sz="2400" kern="1200">
              <a:solidFill>
                <a:srgbClr val="02060A"/>
              </a:solidFill>
              <a:latin typeface="Tw Cen MT" panose="020B0602020104020603" pitchFamily="34" charset="0"/>
            </a:rPr>
            <a:t>Be accepted to and attend an eligible college. </a:t>
          </a:r>
        </a:p>
      </dsp:txBody>
      <dsp:txXfrm>
        <a:off x="6284669" y="1552616"/>
        <a:ext cx="3212606" cy="354410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1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066B0C-B315-41CA-8A2D-AEA6C94A7951}" type="datetimeFigureOut">
              <a:rPr lang="en-US" smtClean="0"/>
              <a:t>8/2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83822A-29A8-4DE4-8EB5-04095DD45EA7}" type="slidenum">
              <a:rPr lang="en-US" smtClean="0"/>
              <a:t>‹#›</a:t>
            </a:fld>
            <a:endParaRPr lang="en-US" dirty="0"/>
          </a:p>
        </p:txBody>
      </p:sp>
    </p:spTree>
    <p:extLst>
      <p:ext uri="{BB962C8B-B14F-4D97-AF65-F5344CB8AC3E}">
        <p14:creationId xmlns:p14="http://schemas.microsoft.com/office/powerpoint/2010/main" val="39903924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gcc02.safelinks.protection.outlook.com/?url=https%3A%2F%2Fwsac.wa.gov%2FWASFA&amp;data=04%7C01%7CChristinaW%40wsac.wa.gov%7C3a1ad8794c364a63ee7d08d93d935756%7C11d0e217264e400a8ba057dcc127d72d%7C0%7C0%7C637608525305575262%7CUnknown%7CTWFpbGZsb3d8eyJWIjoiMC4wLjAwMDAiLCJQIjoiV2luMzIiLCJBTiI6Ik1haWwiLCJXVCI6Mn0%3D%7C1000&amp;sdata=rvFQPh7nH8yPF%2BxYAPEgFwJ2rfDluYMdRYNzr74jnRM%3D&amp;reserved=0"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sac.wa.gov/sfa-institution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9A179D-2D27-49E2-B022-8EDDA2EFE682}" type="slidenum">
              <a:rPr kumimoji="0" lang="en-US" sz="1200" b="0" i="0" u="none" strike="noStrike" kern="1200" cap="none" spc="0" normalizeH="0" baseline="0" noProof="0" smtClean="0">
                <a:ln>
                  <a:noFill/>
                </a:ln>
                <a:solidFill>
                  <a:srgbClr val="595959"/>
                </a:solidFill>
                <a:effectLst/>
                <a:uLnTx/>
                <a:uFillTx/>
                <a:latin typeface="Book Antiqu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595959"/>
              </a:solidFill>
              <a:effectLst/>
              <a:uLnTx/>
              <a:uFillTx/>
              <a:latin typeface="Book Antiqua"/>
              <a:ea typeface="+mn-ea"/>
              <a:cs typeface="+mn-cs"/>
            </a:endParaRPr>
          </a:p>
        </p:txBody>
      </p:sp>
    </p:spTree>
    <p:extLst>
      <p:ext uri="{BB962C8B-B14F-4D97-AF65-F5344CB8AC3E}">
        <p14:creationId xmlns:p14="http://schemas.microsoft.com/office/powerpoint/2010/main" val="3065105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ork Study is an income-based program provided by both the federal and state.  A student must select they are interested in Work Study on their financial aid application in order to be considered for this program.  </a:t>
            </a:r>
          </a:p>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10</a:t>
            </a:fld>
            <a:endParaRPr lang="en-US" dirty="0"/>
          </a:p>
        </p:txBody>
      </p:sp>
    </p:spTree>
    <p:extLst>
      <p:ext uri="{BB962C8B-B14F-4D97-AF65-F5344CB8AC3E}">
        <p14:creationId xmlns:p14="http://schemas.microsoft.com/office/powerpoint/2010/main" val="903719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about federal student loans, go to https://studentaid.gov/understand-aid/types/loans </a:t>
            </a:r>
          </a:p>
          <a:p>
            <a:r>
              <a:rPr lang="en-US" dirty="0"/>
              <a:t>You can find resources on student loans at our student loan advocacy site at https://wsac.wa.gov/loan-advocacy and https://www.studentloaned.wa.gov/ </a:t>
            </a:r>
          </a:p>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11</a:t>
            </a:fld>
            <a:endParaRPr lang="en-US" dirty="0"/>
          </a:p>
        </p:txBody>
      </p:sp>
    </p:spTree>
    <p:extLst>
      <p:ext uri="{BB962C8B-B14F-4D97-AF65-F5344CB8AC3E}">
        <p14:creationId xmlns:p14="http://schemas.microsoft.com/office/powerpoint/2010/main" val="3376640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ncial aid can come from several sources: Federal: This is from the US Department of Education and can be used at most colleges in the US. They have to be able to receive financial aid. Students can take to another state. State: For example, Washington state financial aid is for residents to attend colleges in WA. They do not necessarily have to be public colleges, but they have to be able to receive state financial aid. There are currently over 60. College: Every college will have their own scholarships, </a:t>
            </a:r>
            <a:r>
              <a:rPr lang="en-US" dirty="0" err="1"/>
              <a:t>etc</a:t>
            </a:r>
            <a:r>
              <a:rPr lang="en-US" dirty="0"/>
              <a:t> that they offer to students who are going to their school. Organizations: These tend to be scholarships (organizations) or private loans (banks). We will talk about applications for these specific forms of aid later. </a:t>
            </a:r>
          </a:p>
        </p:txBody>
      </p:sp>
      <p:sp>
        <p:nvSpPr>
          <p:cNvPr id="4" name="Slide Number Placeholder 3"/>
          <p:cNvSpPr>
            <a:spLocks noGrp="1"/>
          </p:cNvSpPr>
          <p:nvPr>
            <p:ph type="sldNum" sz="quarter" idx="10"/>
          </p:nvPr>
        </p:nvSpPr>
        <p:spPr/>
        <p:txBody>
          <a:bodyPr/>
          <a:lstStyle/>
          <a:p>
            <a:fld id="{D0B21C6A-5A06-4DD3-9905-90CB9635CE2D}" type="slidenum">
              <a:rPr lang="en-US" smtClean="0"/>
              <a:t>12</a:t>
            </a:fld>
            <a:endParaRPr lang="en-US" dirty="0"/>
          </a:p>
        </p:txBody>
      </p:sp>
    </p:spTree>
    <p:extLst>
      <p:ext uri="{BB962C8B-B14F-4D97-AF65-F5344CB8AC3E}">
        <p14:creationId xmlns:p14="http://schemas.microsoft.com/office/powerpoint/2010/main" val="8834762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everal types of federal financial aid. Students need to be U.S. citizens or eligible non-citizens (i.e. permanent residents with a Green Card as an example) to apply. Pell Grant: The largest income-based grant. You may be familiar with this grant as it is a long-standing program. There have been some changes over the years, so make sure you investigate current Pell Grant requirements such as maximum award amounts use during the summer. Work-study: Students can work on campus and their salary is paid from the Dept of Education on-campus employer—&gt;student. Not all on campus jobs require a student to be part of the work-study program. Loans: Both these are in the student’s name. The difference is that with Unsubsidized student loans the student will ultimately pay the interest accrued once they graduate and/or leave college. Subsidized student loans – the government pays, or subsidizes the interest. Parent loans: Would be taken out by the parent to pay for the student’s expenses. There are additional requirements, such as a credit check. There is not limit on the loan amount for parent loans. If offered any/all of these loans from the government, students/families can accept none, partial, or all that they want to utilize. There are also private loans from banks but they typically have higher interest rates and more limited repayment options that federal loans. Students apply for these programs using the Free Application for Federal Student Aid (FAFSA). Students who are not eligible to apply for these programs due to immigration status would not be eligible for these programs, such as federal student loans. </a:t>
            </a:r>
          </a:p>
        </p:txBody>
      </p:sp>
      <p:sp>
        <p:nvSpPr>
          <p:cNvPr id="4" name="Slide Number Placeholder 3"/>
          <p:cNvSpPr>
            <a:spLocks noGrp="1"/>
          </p:cNvSpPr>
          <p:nvPr>
            <p:ph type="sldNum" sz="quarter" idx="10"/>
          </p:nvPr>
        </p:nvSpPr>
        <p:spPr/>
        <p:txBody>
          <a:bodyPr/>
          <a:lstStyle/>
          <a:p>
            <a:fld id="{D0B21C6A-5A06-4DD3-9905-90CB9635CE2D}" type="slidenum">
              <a:rPr lang="en-US" smtClean="0"/>
              <a:t>13</a:t>
            </a:fld>
            <a:endParaRPr lang="en-US"/>
          </a:p>
        </p:txBody>
      </p:sp>
    </p:spTree>
    <p:extLst>
      <p:ext uri="{BB962C8B-B14F-4D97-AF65-F5344CB8AC3E}">
        <p14:creationId xmlns:p14="http://schemas.microsoft.com/office/powerpoint/2010/main" val="366469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arn more about Washington’s state financial aid programs, collectively known as </a:t>
            </a:r>
            <a:r>
              <a:rPr lang="en-US" sz="1200" b="0" i="1" kern="1200" dirty="0">
                <a:solidFill>
                  <a:schemeClr val="tx1"/>
                </a:solidFill>
                <a:effectLst/>
                <a:latin typeface="+mn-lt"/>
                <a:ea typeface="+mn-ea"/>
                <a:cs typeface="+mn-cs"/>
              </a:rPr>
              <a:t>opportunity pathways</a:t>
            </a:r>
            <a:r>
              <a:rPr lang="en-US" sz="1200" b="0" i="0" kern="1200" dirty="0">
                <a:solidFill>
                  <a:schemeClr val="tx1"/>
                </a:solidFill>
                <a:effectLst/>
                <a:latin typeface="+mn-lt"/>
                <a:ea typeface="+mn-ea"/>
                <a:cs typeface="+mn-cs"/>
              </a:rPr>
              <a:t> go to </a:t>
            </a:r>
            <a:r>
              <a:rPr lang="en-US" baseline="0" dirty="0"/>
              <a:t>https://wsac.wa.gov/sfa-overview </a:t>
            </a:r>
          </a:p>
          <a:p>
            <a:endParaRPr lang="en-US" baseline="0" dirty="0"/>
          </a:p>
          <a:p>
            <a:r>
              <a:rPr lang="en-US" dirty="0"/>
              <a:t>These are examples of state financial aid programs that WA residents who are eligible can use in WA at eligible colleges – you may see them referred to as Washington Opportunity Pathways. Washington College Grant (formerly the State Need Grant) largest, income based grant. The amount depends on what type of school (out of the over 60) you attend. College Bound Scholarship: This is an early commitment of state financial aid to cover certain college costs. Students must have signed up in middle school. We’ll talk more later. State Work-Study: Similar to the federal program but the funding comes from Washington State versus the federal government. Passport to Careers: program that provides additional resources for both former foster youth and unaccompanied homeless youth (https://www.wsac.wa.gov/sites/default/files/Passport.Student.FAQs.pdf) Opportunity Grant: to attend a 2 year community or technical college 5 Students who can complete the FAFSA (U.S. citizens and permanent residents) are also applying for state aid programs when the complete the FAFSA. Undocumented students who meet program and state residency requirements can apply using the Washington Application for State Financial Aid (WASFA). </a:t>
            </a:r>
          </a:p>
        </p:txBody>
      </p:sp>
      <p:sp>
        <p:nvSpPr>
          <p:cNvPr id="4" name="Slide Number Placeholder 3"/>
          <p:cNvSpPr>
            <a:spLocks noGrp="1"/>
          </p:cNvSpPr>
          <p:nvPr>
            <p:ph type="sldNum" sz="quarter" idx="10"/>
          </p:nvPr>
        </p:nvSpPr>
        <p:spPr/>
        <p:txBody>
          <a:bodyPr/>
          <a:lstStyle/>
          <a:p>
            <a:fld id="{D0B21C6A-5A06-4DD3-9905-90CB9635CE2D}" type="slidenum">
              <a:rPr lang="en-US" smtClean="0"/>
              <a:t>14</a:t>
            </a:fld>
            <a:endParaRPr lang="en-US"/>
          </a:p>
        </p:txBody>
      </p:sp>
    </p:spTree>
    <p:extLst>
      <p:ext uri="{BB962C8B-B14F-4D97-AF65-F5344CB8AC3E}">
        <p14:creationId xmlns:p14="http://schemas.microsoft.com/office/powerpoint/2010/main" val="36524125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ww.collegebound.wa.gov </a:t>
            </a:r>
          </a:p>
          <a:p>
            <a:r>
              <a:rPr lang="en-US" dirty="0"/>
              <a:t>Here are some resources that can help you with supporting your College Bound Scholarship students.</a:t>
            </a:r>
          </a:p>
          <a:p>
            <a:endParaRPr lang="en-US" dirty="0"/>
          </a:p>
          <a:p>
            <a:r>
              <a:rPr lang="en-US" dirty="0"/>
              <a:t>Eligibility is a two-step, book end process. </a:t>
            </a:r>
          </a:p>
          <a:p>
            <a:endParaRPr lang="en-US" dirty="0"/>
          </a:p>
          <a:p>
            <a:r>
              <a:rPr lang="en-US" dirty="0"/>
              <a:t>Step 1:</a:t>
            </a:r>
          </a:p>
          <a:p>
            <a:r>
              <a:rPr lang="en-US" dirty="0"/>
              <a:t>Students at public schools eligible for free-and-reduced price lunch in 7</a:t>
            </a:r>
            <a:r>
              <a:rPr lang="en-US" baseline="30000" dirty="0"/>
              <a:t>th</a:t>
            </a:r>
            <a:r>
              <a:rPr lang="en-US" dirty="0"/>
              <a:t>, 8</a:t>
            </a:r>
            <a:r>
              <a:rPr lang="en-US" baseline="30000" dirty="0"/>
              <a:t>th</a:t>
            </a:r>
            <a:r>
              <a:rPr lang="en-US" dirty="0"/>
              <a:t> or newly eligible in 9</a:t>
            </a:r>
            <a:r>
              <a:rPr lang="en-US" baseline="30000" dirty="0"/>
              <a:t>th</a:t>
            </a:r>
            <a:r>
              <a:rPr lang="en-US" dirty="0"/>
              <a:t> grade are auto-enrolled. Foster youth in state care are auto-enrolled at any time beginning in 7</a:t>
            </a:r>
            <a:r>
              <a:rPr lang="en-US" baseline="30000" dirty="0"/>
              <a:t>th</a:t>
            </a:r>
            <a:r>
              <a:rPr lang="en-US" dirty="0"/>
              <a:t> grade until they graduate high school. Home schooled and students attending private school should contact the College Bound office to apply.</a:t>
            </a:r>
          </a:p>
          <a:p>
            <a:endParaRPr lang="en-US" dirty="0"/>
          </a:p>
          <a:p>
            <a:r>
              <a:rPr lang="en-US" dirty="0"/>
              <a:t>Step 2: </a:t>
            </a:r>
          </a:p>
          <a:p>
            <a:r>
              <a:rPr lang="en-US" dirty="0"/>
              <a:t>Students must graduate from a WA HS.  If attending a four year college, graduate with a 2.0 GPA or better . They must meet the income requirements, and this is determined by applying for financial aid with the FAFSA/WASFA beginning in their senior year. </a:t>
            </a:r>
          </a:p>
          <a:p>
            <a:r>
              <a:rPr lang="en-US" dirty="0"/>
              <a:t>Students must attend an eligible WA school within one year of graduating high school to receive funds. </a:t>
            </a:r>
          </a:p>
          <a:p>
            <a:endParaRPr lang="en-US" dirty="0"/>
          </a:p>
        </p:txBody>
      </p:sp>
      <p:sp>
        <p:nvSpPr>
          <p:cNvPr id="4" name="Slide Number Placeholder 3"/>
          <p:cNvSpPr>
            <a:spLocks noGrp="1"/>
          </p:cNvSpPr>
          <p:nvPr>
            <p:ph type="sldNum" sz="quarter" idx="10"/>
          </p:nvPr>
        </p:nvSpPr>
        <p:spPr/>
        <p:txBody>
          <a:bodyPr/>
          <a:lstStyle/>
          <a:p>
            <a:fld id="{1B9A179D-2D27-49E2-B022-8EDDA2EFE682}" type="slidenum">
              <a:rPr lang="en-US" smtClean="0"/>
              <a:t>15</a:t>
            </a:fld>
            <a:endParaRPr lang="en-US"/>
          </a:p>
        </p:txBody>
      </p:sp>
    </p:spTree>
    <p:extLst>
      <p:ext uri="{BB962C8B-B14F-4D97-AF65-F5344CB8AC3E}">
        <p14:creationId xmlns:p14="http://schemas.microsoft.com/office/powerpoint/2010/main" val="806328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College Bound Scholarship program is an early commitment of state financial aid to eligible students  who are auto-enrolled in 7</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8</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or 9</a:t>
            </a:r>
            <a:r>
              <a:rPr lang="en-US" sz="1200" b="0" i="0" kern="1200" baseline="30000" dirty="0">
                <a:solidFill>
                  <a:schemeClr val="tx1"/>
                </a:solidFill>
                <a:effectLst/>
                <a:latin typeface="+mn-lt"/>
                <a:ea typeface="+mn-ea"/>
                <a:cs typeface="+mn-cs"/>
              </a:rPr>
              <a:t>th</a:t>
            </a:r>
            <a:r>
              <a:rPr lang="en-US" sz="1200" b="0" i="0" kern="1200" dirty="0">
                <a:solidFill>
                  <a:schemeClr val="tx1"/>
                </a:solidFill>
                <a:effectLst/>
                <a:latin typeface="+mn-lt"/>
                <a:ea typeface="+mn-ea"/>
                <a:cs typeface="+mn-cs"/>
              </a:rPr>
              <a:t> grade (who become newly eligible) and fulfill the College Bound Pledge.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t is a commitment that certain costs will be covered by state financial aid: tuition (at public rates), some fees and a small book allowance. These costs will be covered by state aid and it may come in different buckets, such as the Washington College Grant.</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t can be used at programs at over 65 colleges and universitates, technical schools, </a:t>
            </a:r>
            <a:r>
              <a:rPr lang="en-US" sz="1200" b="0" i="0" kern="1200" dirty="0" err="1">
                <a:solidFill>
                  <a:schemeClr val="tx1"/>
                </a:solidFill>
                <a:effectLst/>
                <a:latin typeface="+mn-lt"/>
                <a:ea typeface="+mn-ea"/>
                <a:cs typeface="+mn-cs"/>
              </a:rPr>
              <a:t>etc</a:t>
            </a:r>
            <a:r>
              <a:rPr lang="en-US" sz="1200" b="0" i="0" kern="1200" dirty="0">
                <a:solidFill>
                  <a:schemeClr val="tx1"/>
                </a:solidFill>
                <a:effectLst/>
                <a:latin typeface="+mn-lt"/>
                <a:ea typeface="+mn-ea"/>
                <a:cs typeface="+mn-cs"/>
              </a:rPr>
              <a:t> around WA. </a:t>
            </a:r>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16</a:t>
            </a:fld>
            <a:endParaRPr lang="en-US" dirty="0"/>
          </a:p>
        </p:txBody>
      </p:sp>
    </p:spTree>
    <p:extLst>
      <p:ext uri="{BB962C8B-B14F-4D97-AF65-F5344CB8AC3E}">
        <p14:creationId xmlns:p14="http://schemas.microsoft.com/office/powerpoint/2010/main" val="27541060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Tw Cen MT" panose="020B0602020104020603" pitchFamily="34" charset="0"/>
              </a:rPr>
              <a:t>https://portal.wsac.wa.gov/a/aid-calculator/  This tool calculates potential awards from the Washington College Grant and Pell Grant programs.   </a:t>
            </a:r>
            <a:endParaRPr lang="en-US" dirty="0"/>
          </a:p>
        </p:txBody>
      </p:sp>
      <p:sp>
        <p:nvSpPr>
          <p:cNvPr id="4" name="Slide Number Placeholder 3"/>
          <p:cNvSpPr>
            <a:spLocks noGrp="1"/>
          </p:cNvSpPr>
          <p:nvPr>
            <p:ph type="sldNum" sz="quarter" idx="5"/>
          </p:nvPr>
        </p:nvSpPr>
        <p:spPr/>
        <p:txBody>
          <a:bodyPr/>
          <a:lstStyle/>
          <a:p>
            <a:fld id="{D0B21C6A-5A06-4DD3-9905-90CB9635CE2D}" type="slidenum">
              <a:rPr lang="en-US" smtClean="0"/>
              <a:t>17</a:t>
            </a:fld>
            <a:endParaRPr lang="en-US"/>
          </a:p>
        </p:txBody>
      </p:sp>
    </p:spTree>
    <p:extLst>
      <p:ext uri="{BB962C8B-B14F-4D97-AF65-F5344CB8AC3E}">
        <p14:creationId xmlns:p14="http://schemas.microsoft.com/office/powerpoint/2010/main" val="2765833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 of FAFSA and WASFA… Students should only complete one application. Fill out the FAFSA if you are eligible for federal aid (i.e. US citizen/permanent resident) and this will also be used to determine state aid eligibility If you are ineligible for federal aid due to immigration status but you are eligible for a state financial aid program (i.e. for undocumented students) complete the WASFA. Some colleges may also use WASFA in replace of a FAFSA when calculating institutional aid There are resources to help you complete these applications and determine which one to file at </a:t>
            </a:r>
            <a:r>
              <a:rPr lang="en-US" sz="1200" u="sng" kern="1200" dirty="0">
                <a:solidFill>
                  <a:schemeClr val="tx1"/>
                </a:solidFill>
                <a:effectLst/>
                <a:latin typeface="+mn-lt"/>
                <a:ea typeface="+mn-ea"/>
                <a:cs typeface="+mn-cs"/>
                <a:hlinkClick r:id="rId3"/>
              </a:rPr>
              <a:t>https://wsac.wa.gov/WASFA</a:t>
            </a:r>
            <a:r>
              <a:rPr lang="en-US" sz="1200" u="sng" kern="1200" dirty="0">
                <a:solidFill>
                  <a:schemeClr val="tx1"/>
                </a:solidFill>
                <a:effectLst/>
                <a:latin typeface="+mn-lt"/>
                <a:ea typeface="+mn-ea"/>
                <a:cs typeface="+mn-cs"/>
              </a:rPr>
              <a:t> </a:t>
            </a:r>
          </a:p>
          <a:p>
            <a:endParaRPr lang="en-US" sz="1200" u="sng" kern="1200" dirty="0">
              <a:solidFill>
                <a:schemeClr val="tx1"/>
              </a:solidFill>
              <a:effectLst/>
              <a:latin typeface="+mn-lt"/>
              <a:ea typeface="+mn-ea"/>
              <a:cs typeface="+mn-cs"/>
            </a:endParaRPr>
          </a:p>
          <a:p>
            <a:r>
              <a:rPr lang="en-US" dirty="0"/>
              <a:t>Note to presenter: You should not ask students which application they should file or their status. Let them self-identify. </a:t>
            </a:r>
          </a:p>
        </p:txBody>
      </p:sp>
      <p:sp>
        <p:nvSpPr>
          <p:cNvPr id="4" name="Slide Number Placeholder 3"/>
          <p:cNvSpPr>
            <a:spLocks noGrp="1"/>
          </p:cNvSpPr>
          <p:nvPr>
            <p:ph type="sldNum" sz="quarter" idx="10"/>
          </p:nvPr>
        </p:nvSpPr>
        <p:spPr/>
        <p:txBody>
          <a:bodyPr/>
          <a:lstStyle/>
          <a:p>
            <a:fld id="{77542409-6A04-4DC6-AC3A-D3758287A8F2}" type="slidenum">
              <a:rPr lang="en-US" smtClean="0"/>
              <a:t>18</a:t>
            </a:fld>
            <a:endParaRPr lang="en-US" dirty="0"/>
          </a:p>
        </p:txBody>
      </p:sp>
    </p:spTree>
    <p:extLst>
      <p:ext uri="{BB962C8B-B14F-4D97-AF65-F5344CB8AC3E}">
        <p14:creationId xmlns:p14="http://schemas.microsoft.com/office/powerpoint/2010/main" val="21767303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 can see the </a:t>
            </a:r>
            <a:r>
              <a:rPr lang="en-US" sz="1200" dirty="0"/>
              <a:t>Free Application for Federal Student Aid (FAFSA) home page https://studentaid.gov/h/apply-for-aid/fafsa </a:t>
            </a:r>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19</a:t>
            </a:fld>
            <a:endParaRPr lang="en-US" dirty="0"/>
          </a:p>
        </p:txBody>
      </p:sp>
    </p:spTree>
    <p:extLst>
      <p:ext uri="{BB962C8B-B14F-4D97-AF65-F5344CB8AC3E}">
        <p14:creationId xmlns:p14="http://schemas.microsoft.com/office/powerpoint/2010/main" val="2202086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sac.wa.gov/</a:t>
            </a:r>
          </a:p>
          <a:p>
            <a:endParaRPr lang="en-US" dirty="0"/>
          </a:p>
          <a:p>
            <a:r>
              <a:rPr lang="en-US" sz="1200" b="1" i="0" kern="1200" dirty="0">
                <a:solidFill>
                  <a:schemeClr val="tx1"/>
                </a:solidFill>
                <a:effectLst/>
                <a:latin typeface="+mn-lt"/>
                <a:ea typeface="+mn-ea"/>
                <a:cs typeface="+mn-cs"/>
              </a:rPr>
              <a:t>Our mission</a:t>
            </a:r>
          </a:p>
          <a:p>
            <a:r>
              <a:rPr lang="en-US" sz="1200" b="0" i="0" kern="1200" dirty="0">
                <a:solidFill>
                  <a:schemeClr val="tx1"/>
                </a:solidFill>
                <a:effectLst/>
                <a:latin typeface="+mn-lt"/>
                <a:ea typeface="+mn-ea"/>
                <a:cs typeface="+mn-cs"/>
              </a:rPr>
              <a:t>We advance educational opportunities and attainment in Washington. In pursuit of our mission, the Washington Student Achievement Council:</a:t>
            </a:r>
          </a:p>
          <a:p>
            <a:r>
              <a:rPr lang="en-US" sz="1200" b="0" i="0" kern="1200" dirty="0">
                <a:solidFill>
                  <a:schemeClr val="tx1"/>
                </a:solidFill>
                <a:effectLst/>
                <a:latin typeface="+mn-lt"/>
                <a:ea typeface="+mn-ea"/>
                <a:cs typeface="+mn-cs"/>
              </a:rPr>
              <a:t>Leads statewide strategic planning to improve educational coordination and transitions.</a:t>
            </a:r>
          </a:p>
          <a:p>
            <a:r>
              <a:rPr lang="en-US" sz="1200" b="0" i="0" kern="1200" dirty="0">
                <a:solidFill>
                  <a:schemeClr val="tx1"/>
                </a:solidFill>
                <a:effectLst/>
                <a:latin typeface="+mn-lt"/>
                <a:ea typeface="+mn-ea"/>
                <a:cs typeface="+mn-cs"/>
              </a:rPr>
              <a:t>Supports Washingtonians through the administration of financial aid, 529 college savings plans, and support services.</a:t>
            </a:r>
          </a:p>
          <a:p>
            <a:r>
              <a:rPr lang="en-US" sz="1200" b="0" i="0" kern="1200" dirty="0">
                <a:solidFill>
                  <a:schemeClr val="tx1"/>
                </a:solidFill>
                <a:effectLst/>
                <a:latin typeface="+mn-lt"/>
                <a:ea typeface="+mn-ea"/>
                <a:cs typeface="+mn-cs"/>
              </a:rPr>
              <a:t>Advocates for the economic, social, and civic benefits of postsecondary education.</a:t>
            </a:r>
          </a:p>
          <a:p>
            <a:r>
              <a:rPr lang="en-US" sz="1200" b="1" i="0" kern="1200" dirty="0">
                <a:solidFill>
                  <a:schemeClr val="tx1"/>
                </a:solidFill>
                <a:effectLst/>
                <a:latin typeface="+mn-lt"/>
                <a:ea typeface="+mn-ea"/>
                <a:cs typeface="+mn-cs"/>
              </a:rPr>
              <a:t>Our vision</a:t>
            </a:r>
          </a:p>
          <a:p>
            <a:r>
              <a:rPr lang="en-US" sz="1200" b="0" i="0" kern="1200" dirty="0">
                <a:solidFill>
                  <a:schemeClr val="tx1"/>
                </a:solidFill>
                <a:effectLst/>
                <a:latin typeface="+mn-lt"/>
                <a:ea typeface="+mn-ea"/>
                <a:cs typeface="+mn-cs"/>
              </a:rPr>
              <a:t>We inspire and foster excellence in educational attainment.</a:t>
            </a:r>
          </a:p>
          <a:p>
            <a:r>
              <a:rPr lang="en-US" sz="1200" b="1" i="0" kern="1200" dirty="0">
                <a:solidFill>
                  <a:schemeClr val="tx1"/>
                </a:solidFill>
                <a:effectLst/>
                <a:latin typeface="+mn-lt"/>
                <a:ea typeface="+mn-ea"/>
                <a:cs typeface="+mn-cs"/>
              </a:rPr>
              <a:t>Our commitment to equity</a:t>
            </a:r>
          </a:p>
          <a:p>
            <a:r>
              <a:rPr lang="en-US" sz="1200" b="0" i="0" kern="1200" dirty="0">
                <a:solidFill>
                  <a:schemeClr val="tx1"/>
                </a:solidFill>
                <a:effectLst/>
                <a:latin typeface="+mn-lt"/>
                <a:ea typeface="+mn-ea"/>
                <a:cs typeface="+mn-cs"/>
              </a:rPr>
              <a:t>In support of advancing educational attainment for all Washingtonians, we commit to fostering a culture of equity, diversity, and inclusion among our staff and in all areas of our work.</a:t>
            </a:r>
          </a:p>
          <a:p>
            <a:endParaRPr lang="en-US" dirty="0"/>
          </a:p>
        </p:txBody>
      </p:sp>
      <p:sp>
        <p:nvSpPr>
          <p:cNvPr id="4" name="Slide Number Placeholder 3"/>
          <p:cNvSpPr>
            <a:spLocks noGrp="1"/>
          </p:cNvSpPr>
          <p:nvPr>
            <p:ph type="sldNum" sz="quarter" idx="10"/>
          </p:nvPr>
        </p:nvSpPr>
        <p:spPr/>
        <p:txBody>
          <a:bodyPr/>
          <a:lstStyle/>
          <a:p>
            <a:pPr defTabSz="931774">
              <a:defRPr/>
            </a:pPr>
            <a:fld id="{0D027771-A5CF-4A09-9896-ADE9397A25CC}" type="slidenum">
              <a:rPr lang="en-US">
                <a:solidFill>
                  <a:prstClr val="black"/>
                </a:solidFill>
                <a:latin typeface="Calibri" panose="020F0502020204030204"/>
              </a:rPr>
              <a:pPr defTabSz="931774">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35126849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can use these ways to apply for the FAFSA.  The website is the quickest way to apply but students can use the paper application if they are unable to access the application online.</a:t>
            </a:r>
          </a:p>
        </p:txBody>
      </p:sp>
      <p:sp>
        <p:nvSpPr>
          <p:cNvPr id="4" name="Slide Number Placeholder 3"/>
          <p:cNvSpPr>
            <a:spLocks noGrp="1"/>
          </p:cNvSpPr>
          <p:nvPr>
            <p:ph type="sldNum" sz="quarter" idx="5"/>
          </p:nvPr>
        </p:nvSpPr>
        <p:spPr/>
        <p:txBody>
          <a:bodyPr/>
          <a:lstStyle/>
          <a:p>
            <a:fld id="{F183822A-29A8-4DE4-8EB5-04095DD45EA7}" type="slidenum">
              <a:rPr lang="en-US" smtClean="0"/>
              <a:t>20</a:t>
            </a:fld>
            <a:endParaRPr lang="en-US" dirty="0"/>
          </a:p>
        </p:txBody>
      </p:sp>
    </p:spTree>
    <p:extLst>
      <p:ext uri="{BB962C8B-B14F-4D97-AF65-F5344CB8AC3E}">
        <p14:creationId xmlns:p14="http://schemas.microsoft.com/office/powerpoint/2010/main" val="1539501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AFSA site is offered in English and Spanish.</a:t>
            </a:r>
          </a:p>
        </p:txBody>
      </p:sp>
      <p:sp>
        <p:nvSpPr>
          <p:cNvPr id="4" name="Slide Number Placeholder 3"/>
          <p:cNvSpPr>
            <a:spLocks noGrp="1"/>
          </p:cNvSpPr>
          <p:nvPr>
            <p:ph type="sldNum" sz="quarter" idx="5"/>
          </p:nvPr>
        </p:nvSpPr>
        <p:spPr/>
        <p:txBody>
          <a:bodyPr/>
          <a:lstStyle/>
          <a:p>
            <a:fld id="{F183822A-29A8-4DE4-8EB5-04095DD45EA7}" type="slidenum">
              <a:rPr lang="en-US" smtClean="0"/>
              <a:t>21</a:t>
            </a:fld>
            <a:endParaRPr lang="en-US" dirty="0"/>
          </a:p>
        </p:txBody>
      </p:sp>
    </p:spTree>
    <p:extLst>
      <p:ext uri="{BB962C8B-B14F-4D97-AF65-F5344CB8AC3E}">
        <p14:creationId xmlns:p14="http://schemas.microsoft.com/office/powerpoint/2010/main" val="4100014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studentaid.gov/fsa-id/create-account/launch</a:t>
            </a:r>
            <a:endParaRPr lang="en-US" u="none" baseline="0" dirty="0"/>
          </a:p>
          <a:p>
            <a:r>
              <a:rPr lang="en-US" u="none" baseline="0" dirty="0"/>
              <a:t>If the filer uses the SSN, DOB and Name to access the FAFSA, they will be asked to enter the FSA ID to use the IRS data retrieval tool and to sign and submit the FAFSA. </a:t>
            </a:r>
          </a:p>
        </p:txBody>
      </p:sp>
      <p:sp>
        <p:nvSpPr>
          <p:cNvPr id="4" name="Slide Number Placeholder 3"/>
          <p:cNvSpPr>
            <a:spLocks noGrp="1"/>
          </p:cNvSpPr>
          <p:nvPr>
            <p:ph type="sldNum" sz="quarter" idx="10"/>
          </p:nvPr>
        </p:nvSpPr>
        <p:spPr/>
        <p:txBody>
          <a:bodyPr/>
          <a:lstStyle/>
          <a:p>
            <a:fld id="{ED41BFE1-0E4B-4C42-9FD6-E1DF42D0E748}" type="slidenum">
              <a:rPr lang="en-US" smtClean="0"/>
              <a:t>22</a:t>
            </a:fld>
            <a:endParaRPr lang="en-US"/>
          </a:p>
        </p:txBody>
      </p:sp>
    </p:spTree>
    <p:extLst>
      <p:ext uri="{BB962C8B-B14F-4D97-AF65-F5344CB8AC3E}">
        <p14:creationId xmlns:p14="http://schemas.microsoft.com/office/powerpoint/2010/main" val="1665450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a:t>
            </a:r>
            <a:r>
              <a:rPr lang="en-US" sz="1200" dirty="0"/>
              <a:t>Washington Application for State Financial Aid (WASFA) application site </a:t>
            </a:r>
            <a:r>
              <a:rPr lang="en-US" dirty="0"/>
              <a:t>https://wsac.wa.gov/wasfa</a:t>
            </a:r>
          </a:p>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23</a:t>
            </a:fld>
            <a:endParaRPr lang="en-US" dirty="0"/>
          </a:p>
        </p:txBody>
      </p:sp>
    </p:spTree>
    <p:extLst>
      <p:ext uri="{BB962C8B-B14F-4D97-AF65-F5344CB8AC3E}">
        <p14:creationId xmlns:p14="http://schemas.microsoft.com/office/powerpoint/2010/main" val="8529141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ing a </a:t>
            </a:r>
            <a:r>
              <a:rPr lang="en-US" sz="1200" dirty="0"/>
              <a:t>Washington Application for State Financial Aid (WASFA) account is the first step to applying.  Students can create their account by going to </a:t>
            </a:r>
            <a:r>
              <a:rPr lang="en-US" dirty="0"/>
              <a:t>https://wsac.wa.gov/wasfa</a:t>
            </a:r>
          </a:p>
        </p:txBody>
      </p:sp>
      <p:sp>
        <p:nvSpPr>
          <p:cNvPr id="4" name="Slide Number Placeholder 3"/>
          <p:cNvSpPr>
            <a:spLocks noGrp="1"/>
          </p:cNvSpPr>
          <p:nvPr>
            <p:ph type="sldNum" sz="quarter" idx="5"/>
          </p:nvPr>
        </p:nvSpPr>
        <p:spPr/>
        <p:txBody>
          <a:bodyPr/>
          <a:lstStyle/>
          <a:p>
            <a:fld id="{F183822A-29A8-4DE4-8EB5-04095DD45EA7}" type="slidenum">
              <a:rPr lang="en-US" smtClean="0"/>
              <a:t>24</a:t>
            </a:fld>
            <a:endParaRPr lang="en-US" dirty="0"/>
          </a:p>
        </p:txBody>
      </p:sp>
    </p:spTree>
    <p:extLst>
      <p:ext uri="{BB962C8B-B14F-4D97-AF65-F5344CB8AC3E}">
        <p14:creationId xmlns:p14="http://schemas.microsoft.com/office/powerpoint/2010/main" val="8416598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criteria for independent student status.  If students do not meet the requirements listed in right column they most likely will be considered a dependent student for financial aid.  </a:t>
            </a:r>
          </a:p>
        </p:txBody>
      </p:sp>
      <p:sp>
        <p:nvSpPr>
          <p:cNvPr id="4" name="Slide Number Placeholder 3"/>
          <p:cNvSpPr>
            <a:spLocks noGrp="1"/>
          </p:cNvSpPr>
          <p:nvPr>
            <p:ph type="sldNum" sz="quarter" idx="5"/>
          </p:nvPr>
        </p:nvSpPr>
        <p:spPr/>
        <p:txBody>
          <a:bodyPr/>
          <a:lstStyle/>
          <a:p>
            <a:fld id="{F183822A-29A8-4DE4-8EB5-04095DD45EA7}" type="slidenum">
              <a:rPr lang="en-US" smtClean="0"/>
              <a:t>25</a:t>
            </a:fld>
            <a:endParaRPr lang="en-US" dirty="0"/>
          </a:p>
        </p:txBody>
      </p:sp>
    </p:spTree>
    <p:extLst>
      <p:ext uri="{BB962C8B-B14F-4D97-AF65-F5344CB8AC3E}">
        <p14:creationId xmlns:p14="http://schemas.microsoft.com/office/powerpoint/2010/main" val="40986211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us a list of the documents students will need to apply for financial aid.</a:t>
            </a:r>
          </a:p>
        </p:txBody>
      </p:sp>
      <p:sp>
        <p:nvSpPr>
          <p:cNvPr id="4" name="Slide Number Placeholder 3"/>
          <p:cNvSpPr>
            <a:spLocks noGrp="1"/>
          </p:cNvSpPr>
          <p:nvPr>
            <p:ph type="sldNum" sz="quarter" idx="5"/>
          </p:nvPr>
        </p:nvSpPr>
        <p:spPr/>
        <p:txBody>
          <a:bodyPr/>
          <a:lstStyle/>
          <a:p>
            <a:fld id="{F183822A-29A8-4DE4-8EB5-04095DD45EA7}" type="slidenum">
              <a:rPr lang="en-US" smtClean="0"/>
              <a:t>26</a:t>
            </a:fld>
            <a:endParaRPr lang="en-US" dirty="0"/>
          </a:p>
        </p:txBody>
      </p:sp>
    </p:spTree>
    <p:extLst>
      <p:ext uri="{BB962C8B-B14F-4D97-AF65-F5344CB8AC3E}">
        <p14:creationId xmlns:p14="http://schemas.microsoft.com/office/powerpoint/2010/main" val="33216975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profile that some colleges use to award institutional aid.</a:t>
            </a:r>
          </a:p>
          <a:p>
            <a:r>
              <a:rPr lang="en-US" dirty="0"/>
              <a:t>The CSS Profile is free for domestic college students whose household income is up to $100,000. The initial application fee is $25. Additional reports are $16.</a:t>
            </a:r>
          </a:p>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27</a:t>
            </a:fld>
            <a:endParaRPr lang="en-US" dirty="0"/>
          </a:p>
        </p:txBody>
      </p:sp>
    </p:spTree>
    <p:extLst>
      <p:ext uri="{BB962C8B-B14F-4D97-AF65-F5344CB8AC3E}">
        <p14:creationId xmlns:p14="http://schemas.microsoft.com/office/powerpoint/2010/main" val="9532484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the financial aid timeline.  Some of these steps can be taken at the same time.  </a:t>
            </a:r>
          </a:p>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28</a:t>
            </a:fld>
            <a:endParaRPr lang="en-US" dirty="0"/>
          </a:p>
        </p:txBody>
      </p:sp>
    </p:spTree>
    <p:extLst>
      <p:ext uri="{BB962C8B-B14F-4D97-AF65-F5344CB8AC3E}">
        <p14:creationId xmlns:p14="http://schemas.microsoft.com/office/powerpoint/2010/main" val="14189837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lang="en-US" dirty="0">
                <a:solidFill>
                  <a:schemeClr val="bg2">
                    <a:lumMod val="50000"/>
                  </a:schemeClr>
                </a:solidFill>
              </a:rPr>
              <a:t>This year </a:t>
            </a:r>
            <a:r>
              <a:rPr lang="en-US" b="0" i="0" dirty="0">
                <a:solidFill>
                  <a:schemeClr val="bg2">
                    <a:lumMod val="50000"/>
                  </a:schemeClr>
                </a:solidFill>
                <a:latin typeface="+mj-lt"/>
              </a:rPr>
              <a:t>t</a:t>
            </a:r>
            <a:r>
              <a:rPr lang="en-US" b="0" i="0" dirty="0">
                <a:latin typeface="+mj-lt"/>
              </a:rPr>
              <a:t>he 2024-25 FAFSA &amp; WASFA will be available in December.  The actual release date will be provided by Federal Student Aid.  This will impact the class of 2024 when they apply for the 2024-25 FAFSA or WASFA.  For 2025-26 and beyond FAFSA &amp; WASFA will be available in October.</a:t>
            </a:r>
            <a:endParaRPr lang="en-US" dirty="0">
              <a:latin typeface="+mj-lt"/>
            </a:endParaRPr>
          </a:p>
          <a:p>
            <a:pPr defTabSz="931774">
              <a:defRPr/>
            </a:pPr>
            <a:endParaRPr lang="en-US" dirty="0">
              <a:solidFill>
                <a:schemeClr val="bg2">
                  <a:lumMod val="50000"/>
                </a:schemeClr>
              </a:solidFill>
            </a:endParaRPr>
          </a:p>
        </p:txBody>
      </p:sp>
      <p:sp>
        <p:nvSpPr>
          <p:cNvPr id="4" name="Slide Number Placeholder 3"/>
          <p:cNvSpPr>
            <a:spLocks noGrp="1"/>
          </p:cNvSpPr>
          <p:nvPr>
            <p:ph type="sldNum" sz="quarter" idx="10"/>
          </p:nvPr>
        </p:nvSpPr>
        <p:spPr/>
        <p:txBody>
          <a:bodyPr/>
          <a:lstStyle/>
          <a:p>
            <a:fld id="{77542409-6A04-4DC6-AC3A-D3758287A8F2}" type="slidenum">
              <a:rPr lang="en-US" smtClean="0"/>
              <a:t>29</a:t>
            </a:fld>
            <a:endParaRPr lang="en-US"/>
          </a:p>
        </p:txBody>
      </p:sp>
    </p:spTree>
    <p:extLst>
      <p:ext uri="{BB962C8B-B14F-4D97-AF65-F5344CB8AC3E}">
        <p14:creationId xmlns:p14="http://schemas.microsoft.com/office/powerpoint/2010/main" val="1455179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9A179D-2D27-49E2-B022-8EDDA2EFE682}" type="slidenum">
              <a:rPr lang="en-US" smtClean="0"/>
              <a:t>3</a:t>
            </a:fld>
            <a:endParaRPr lang="en-US"/>
          </a:p>
        </p:txBody>
      </p:sp>
    </p:spTree>
    <p:extLst>
      <p:ext uri="{BB962C8B-B14F-4D97-AF65-F5344CB8AC3E}">
        <p14:creationId xmlns:p14="http://schemas.microsoft.com/office/powerpoint/2010/main" val="20579062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ere are the next steps for the class of 2024</a:t>
            </a:r>
          </a:p>
          <a:p>
            <a:endParaRPr lang="en-US" dirty="0"/>
          </a:p>
        </p:txBody>
      </p:sp>
      <p:sp>
        <p:nvSpPr>
          <p:cNvPr id="4" name="Slide Number Placeholder 3"/>
          <p:cNvSpPr>
            <a:spLocks noGrp="1"/>
          </p:cNvSpPr>
          <p:nvPr>
            <p:ph type="sldNum" sz="quarter" idx="10"/>
          </p:nvPr>
        </p:nvSpPr>
        <p:spPr/>
        <p:txBody>
          <a:bodyPr/>
          <a:lstStyle/>
          <a:p>
            <a:fld id="{564759F7-F910-4071-BE29-5B51C8545653}" type="slidenum">
              <a:rPr lang="en-US" smtClean="0"/>
              <a:t>30</a:t>
            </a:fld>
            <a:endParaRPr lang="en-US" dirty="0"/>
          </a:p>
        </p:txBody>
      </p:sp>
    </p:spTree>
    <p:extLst>
      <p:ext uri="{BB962C8B-B14F-4D97-AF65-F5344CB8AC3E}">
        <p14:creationId xmlns:p14="http://schemas.microsoft.com/office/powerpoint/2010/main" val="523863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can find more information about education after high school at our action plan page.</a:t>
            </a:r>
          </a:p>
        </p:txBody>
      </p:sp>
      <p:sp>
        <p:nvSpPr>
          <p:cNvPr id="4" name="Slide Number Placeholder 3"/>
          <p:cNvSpPr>
            <a:spLocks noGrp="1"/>
          </p:cNvSpPr>
          <p:nvPr>
            <p:ph type="sldNum" sz="quarter" idx="5"/>
          </p:nvPr>
        </p:nvSpPr>
        <p:spPr/>
        <p:txBody>
          <a:bodyPr/>
          <a:lstStyle/>
          <a:p>
            <a:fld id="{1B9A179D-2D27-49E2-B022-8EDDA2EFE682}" type="slidenum">
              <a:rPr lang="en-US" smtClean="0"/>
              <a:t>31</a:t>
            </a:fld>
            <a:endParaRPr lang="en-US"/>
          </a:p>
        </p:txBody>
      </p:sp>
    </p:spTree>
    <p:extLst>
      <p:ext uri="{BB962C8B-B14F-4D97-AF65-F5344CB8AC3E}">
        <p14:creationId xmlns:p14="http://schemas.microsoft.com/office/powerpoint/2010/main" val="1614187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is comprehensive workbook will assist your juniors and seniors with identifying their postsecondary plan goals with useful activities as well as provides critical information around admission and financial aid progra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The 12th Year Campaign workbook can be found at https://gearup.wa.gov/sites/default/files/resources/2023%20Final%20Edit-12th%20Yr%20Workbook-Fillable%20PDF.pdf </a:t>
            </a:r>
            <a:endParaRPr lang="en-US" dirty="0"/>
          </a:p>
        </p:txBody>
      </p:sp>
      <p:sp>
        <p:nvSpPr>
          <p:cNvPr id="4" name="Slide Number Placeholder 3"/>
          <p:cNvSpPr>
            <a:spLocks noGrp="1"/>
          </p:cNvSpPr>
          <p:nvPr>
            <p:ph type="sldNum" sz="quarter" idx="10"/>
          </p:nvPr>
        </p:nvSpPr>
        <p:spPr/>
        <p:txBody>
          <a:bodyPr/>
          <a:lstStyle/>
          <a:p>
            <a:fld id="{92A7BBA6-D030-4F9F-B48E-2F48C8067771}" type="slidenum">
              <a:rPr lang="en-US" smtClean="0"/>
              <a:t>32</a:t>
            </a:fld>
            <a:endParaRPr lang="en-US" dirty="0"/>
          </a:p>
        </p:txBody>
      </p:sp>
    </p:spTree>
    <p:extLst>
      <p:ext uri="{BB962C8B-B14F-4D97-AF65-F5344CB8AC3E}">
        <p14:creationId xmlns:p14="http://schemas.microsoft.com/office/powerpoint/2010/main" val="36590198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dlets</a:t>
            </a:r>
            <a:r>
              <a:rPr lang="en-US" dirty="0"/>
              <a:t> are digital information boards.  This student </a:t>
            </a:r>
            <a:r>
              <a:rPr lang="en-US" dirty="0" err="1"/>
              <a:t>padlet</a:t>
            </a:r>
            <a:r>
              <a:rPr lang="en-US" dirty="0"/>
              <a:t> has information to support them as they explore education after high school.  This </a:t>
            </a:r>
            <a:r>
              <a:rPr lang="en-US" dirty="0" err="1"/>
              <a:t>padlet</a:t>
            </a:r>
            <a:r>
              <a:rPr lang="en-US" dirty="0"/>
              <a:t> also includes all the links to financial aid applications and where they can find support applying.</a:t>
            </a:r>
          </a:p>
        </p:txBody>
      </p:sp>
      <p:sp>
        <p:nvSpPr>
          <p:cNvPr id="4" name="Slide Number Placeholder 3"/>
          <p:cNvSpPr>
            <a:spLocks noGrp="1"/>
          </p:cNvSpPr>
          <p:nvPr>
            <p:ph type="sldNum" sz="quarter" idx="10"/>
          </p:nvPr>
        </p:nvSpPr>
        <p:spPr/>
        <p:txBody>
          <a:bodyPr/>
          <a:lstStyle/>
          <a:p>
            <a:fld id="{ED41BFE1-0E4B-4C42-9FD6-E1DF42D0E748}" type="slidenum">
              <a:rPr lang="en-US" smtClean="0"/>
              <a:t>33</a:t>
            </a:fld>
            <a:endParaRPr lang="en-US"/>
          </a:p>
        </p:txBody>
      </p:sp>
    </p:spTree>
    <p:extLst>
      <p:ext uri="{BB962C8B-B14F-4D97-AF65-F5344CB8AC3E}">
        <p14:creationId xmlns:p14="http://schemas.microsoft.com/office/powerpoint/2010/main" val="5432111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shington Financial Aid for Education and Training Videos</a:t>
            </a:r>
          </a:p>
          <a:p>
            <a:pPr marL="0" indent="0">
              <a:buNone/>
            </a:pPr>
            <a:r>
              <a:rPr lang="en-US" sz="1200" dirty="0">
                <a:latin typeface="+mj-lt"/>
              </a:rPr>
              <a:t>Informational videos about education after high school in the following languages:</a:t>
            </a:r>
          </a:p>
          <a:p>
            <a:pPr marL="0" indent="0">
              <a:buNone/>
            </a:pPr>
            <a:r>
              <a:rPr lang="en-US" sz="1200" dirty="0">
                <a:latin typeface="+mj-lt"/>
              </a:rPr>
              <a:t>•English</a:t>
            </a:r>
          </a:p>
          <a:p>
            <a:pPr marL="0" indent="0">
              <a:buNone/>
            </a:pPr>
            <a:r>
              <a:rPr lang="en-US" sz="1200" dirty="0">
                <a:latin typeface="+mj-lt"/>
              </a:rPr>
              <a:t>•Mandarin</a:t>
            </a:r>
          </a:p>
          <a:p>
            <a:pPr marL="0" indent="0">
              <a:buNone/>
            </a:pPr>
            <a:r>
              <a:rPr lang="en-US" sz="1200" dirty="0">
                <a:latin typeface="+mj-lt"/>
              </a:rPr>
              <a:t>•Russian</a:t>
            </a:r>
          </a:p>
          <a:p>
            <a:pPr marL="0" indent="0">
              <a:buNone/>
            </a:pPr>
            <a:r>
              <a:rPr lang="en-US" sz="1200" dirty="0">
                <a:latin typeface="+mj-lt"/>
              </a:rPr>
              <a:t>•Somali</a:t>
            </a:r>
          </a:p>
          <a:p>
            <a:pPr marL="0" indent="0">
              <a:buNone/>
            </a:pPr>
            <a:r>
              <a:rPr lang="en-US" sz="1200" dirty="0">
                <a:latin typeface="+mj-lt"/>
              </a:rPr>
              <a:t>•Spanish</a:t>
            </a:r>
          </a:p>
          <a:p>
            <a:pPr marL="0" indent="0">
              <a:buNone/>
            </a:pPr>
            <a:r>
              <a:rPr lang="en-US" sz="1200" dirty="0">
                <a:latin typeface="+mj-lt"/>
              </a:rPr>
              <a:t>•Tagalog</a:t>
            </a:r>
          </a:p>
          <a:p>
            <a:pPr marL="0" indent="0">
              <a:buNone/>
            </a:pPr>
            <a:r>
              <a:rPr lang="en-US" sz="1200" dirty="0">
                <a:latin typeface="+mj-lt"/>
              </a:rPr>
              <a:t>•Vietnamese</a:t>
            </a:r>
            <a:endParaRPr lang="en-US" dirty="0"/>
          </a:p>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34</a:t>
            </a:fld>
            <a:endParaRPr lang="en-US" dirty="0"/>
          </a:p>
        </p:txBody>
      </p:sp>
    </p:spTree>
    <p:extLst>
      <p:ext uri="{BB962C8B-B14F-4D97-AF65-F5344CB8AC3E}">
        <p14:creationId xmlns:p14="http://schemas.microsoft.com/office/powerpoint/2010/main" val="9087543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83822A-29A8-4DE4-8EB5-04095DD45EA7}" type="slidenum">
              <a:rPr lang="en-US" smtClean="0"/>
              <a:t>35</a:t>
            </a:fld>
            <a:endParaRPr lang="en-US" dirty="0"/>
          </a:p>
        </p:txBody>
      </p:sp>
    </p:spTree>
    <p:extLst>
      <p:ext uri="{BB962C8B-B14F-4D97-AF65-F5344CB8AC3E}">
        <p14:creationId xmlns:p14="http://schemas.microsoft.com/office/powerpoint/2010/main" val="17279691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36</a:t>
            </a:fld>
            <a:endParaRPr lang="en-US" dirty="0"/>
          </a:p>
        </p:txBody>
      </p:sp>
    </p:spTree>
    <p:extLst>
      <p:ext uri="{BB962C8B-B14F-4D97-AF65-F5344CB8AC3E}">
        <p14:creationId xmlns:p14="http://schemas.microsoft.com/office/powerpoint/2010/main" val="3392065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4</a:t>
            </a:fld>
            <a:endParaRPr lang="en-US" dirty="0"/>
          </a:p>
        </p:txBody>
      </p:sp>
    </p:spTree>
    <p:extLst>
      <p:ext uri="{BB962C8B-B14F-4D97-AF65-F5344CB8AC3E}">
        <p14:creationId xmlns:p14="http://schemas.microsoft.com/office/powerpoint/2010/main" val="3100918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is not just one meaning for “financial aid”. These are the fours types: • Grants: income-based, federal and state. • Scholarships: merit and income-based, from public, private, and nonprofit sources. • Loans: income-based, federal and private. • Work Study: income-based, federal and state. We will talk next about the specifics.</a:t>
            </a:r>
          </a:p>
          <a:p>
            <a:endParaRPr lang="en-US" dirty="0"/>
          </a:p>
        </p:txBody>
      </p:sp>
      <p:sp>
        <p:nvSpPr>
          <p:cNvPr id="4" name="Slide Number Placeholder 3"/>
          <p:cNvSpPr>
            <a:spLocks noGrp="1"/>
          </p:cNvSpPr>
          <p:nvPr>
            <p:ph type="sldNum" sz="quarter" idx="10"/>
          </p:nvPr>
        </p:nvSpPr>
        <p:spPr/>
        <p:txBody>
          <a:bodyPr/>
          <a:lstStyle/>
          <a:p>
            <a:fld id="{564759F7-F910-4071-BE29-5B51C8545653}"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320153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about the Washington College Grant and other state financial aid please go to https://wsac.wa.gov/wcg </a:t>
            </a:r>
          </a:p>
          <a:p>
            <a:endParaRPr lang="en-US" dirty="0"/>
          </a:p>
          <a:p>
            <a:r>
              <a:rPr lang="en-US" dirty="0"/>
              <a:t>For more information about Federal Pell Grants https://studentaid.gov/understand-aid/types/grants/pell</a:t>
            </a:r>
          </a:p>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6</a:t>
            </a:fld>
            <a:endParaRPr lang="en-US" dirty="0"/>
          </a:p>
        </p:txBody>
      </p:sp>
    </p:spTree>
    <p:extLst>
      <p:ext uri="{BB962C8B-B14F-4D97-AF65-F5344CB8AC3E}">
        <p14:creationId xmlns:p14="http://schemas.microsoft.com/office/powerpoint/2010/main" val="31562710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Washington College Grant (WCG) program—formerly known as the State Need Grant (SNG)—makes education and training beyond high school affordable. WCG provides need-based financial aid to income-eligible students pursuing education after high school. The maximum award amount will cover full tuition at any </a:t>
            </a:r>
            <a:r>
              <a:rPr lang="en-US" sz="1200" b="0" i="0" u="none" strike="noStrike" kern="1200" dirty="0">
                <a:solidFill>
                  <a:schemeClr val="tx1"/>
                </a:solidFill>
                <a:effectLst/>
                <a:latin typeface="+mn-lt"/>
                <a:ea typeface="+mn-ea"/>
                <a:cs typeface="+mn-cs"/>
                <a:hlinkClick r:id="rId3" tooltip="SFA Participating Institutions"/>
              </a:rPr>
              <a:t>approved/eligible</a:t>
            </a:r>
            <a:r>
              <a:rPr lang="en-US" sz="1200" b="0" i="0" kern="1200" dirty="0">
                <a:solidFill>
                  <a:schemeClr val="tx1"/>
                </a:solidFill>
                <a:effectLst/>
                <a:latin typeface="+mn-lt"/>
                <a:ea typeface="+mn-ea"/>
                <a:cs typeface="+mn-cs"/>
              </a:rPr>
              <a:t> in-state public college or university, including community or technical colleges, or provide a comparable amount toward tuition and other education-related costs at an approved private college or career training program.  For more information go to https://wsac.wa.gov/wcg </a:t>
            </a:r>
            <a:endParaRPr lang="en-US" dirty="0"/>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B9A179D-2D27-49E2-B022-8EDDA2EFE682}" type="slidenum">
              <a:rPr lang="en-US" smtClean="0"/>
              <a:t>7</a:t>
            </a:fld>
            <a:endParaRPr lang="en-US"/>
          </a:p>
        </p:txBody>
      </p:sp>
    </p:spTree>
    <p:extLst>
      <p:ext uri="{BB962C8B-B14F-4D97-AF65-F5344CB8AC3E}">
        <p14:creationId xmlns:p14="http://schemas.microsoft.com/office/powerpoint/2010/main" val="1221694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arn more about WCG eligibility and awards at https://wsac.wa.gov/wcg-awards complete MFI chart can be found at https://wsac.wa.gov/sites/default/files/2023-24.WCG.MFIChart.pdf</a:t>
            </a:r>
          </a:p>
          <a:p>
            <a:endParaRPr lang="en-US" dirty="0"/>
          </a:p>
        </p:txBody>
      </p:sp>
      <p:sp>
        <p:nvSpPr>
          <p:cNvPr id="4" name="Slide Number Placeholder 3"/>
          <p:cNvSpPr>
            <a:spLocks noGrp="1"/>
          </p:cNvSpPr>
          <p:nvPr>
            <p:ph type="sldNum" sz="quarter" idx="5"/>
          </p:nvPr>
        </p:nvSpPr>
        <p:spPr/>
        <p:txBody>
          <a:bodyPr/>
          <a:lstStyle/>
          <a:p>
            <a:fld id="{ABE09146-97F1-47D7-8F91-176E1667E065}" type="slidenum">
              <a:rPr lang="en-US" smtClean="0"/>
              <a:t>8</a:t>
            </a:fld>
            <a:endParaRPr lang="en-US"/>
          </a:p>
        </p:txBody>
      </p:sp>
    </p:spTree>
    <p:extLst>
      <p:ext uri="{BB962C8B-B14F-4D97-AF65-F5344CB8AC3E}">
        <p14:creationId xmlns:p14="http://schemas.microsoft.com/office/powerpoint/2010/main" val="1535198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mn-lt"/>
                <a:ea typeface="+mn-ea"/>
                <a:cs typeface="+mn-cs"/>
              </a:rPr>
              <a:t>https://washboard.wsac.wa.gov/login.aspx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mn-lt"/>
                <a:ea typeface="+mn-ea"/>
                <a:cs typeface="+mn-cs"/>
              </a:rPr>
              <a:t>Looking for scholarships? theWashBoard.org makes it simple.</a:t>
            </a:r>
            <a:br>
              <a:rPr lang="en-US" dirty="0"/>
            </a:br>
            <a:r>
              <a:rPr lang="en-US" sz="1200" b="0" i="1" kern="1200" dirty="0">
                <a:solidFill>
                  <a:schemeClr val="tx1"/>
                </a:solidFill>
                <a:effectLst/>
                <a:latin typeface="+mn-lt"/>
                <a:ea typeface="+mn-ea"/>
                <a:cs typeface="+mn-cs"/>
              </a:rPr>
              <a:t>The Washboard connects Washington students of all types with Washington scholarship providers….for FRE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mn-lt"/>
                <a:ea typeface="+mn-ea"/>
                <a:cs typeface="+mn-cs"/>
              </a:rPr>
              <a:t>Whether you’ll be attending in state or out, you save time by entering your profile once and letting us find the scholarship opportunities that fit. theWashBoard.org is spam-free and will never sell your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 does it work? Scholarship providers build a listing for each scholarship they want to offer on our site. This listing provides all the necessary information for potential applicants. Students-scholarship seekers-create a profile online, which is then compared to all available scholarships. A list of the seeker’s best scholarship matches is immediately displayed to them online. The seeker creates an application for their matches after reading the details provided. Seekers can apply for as many scholarships as they choose. The scholarship seeker submits an application to the provider either by mail, by website, or by using theWashBoard.org as the electronic application host. The provider reviews their applications. If theWashBoard.org serves as the electronic host, the provider can review applications online or download and print. The site can also be used to email applicants about their scholarship status </a:t>
            </a:r>
            <a:endParaRPr lang="en-US" sz="1200" b="0"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F183822A-29A8-4DE4-8EB5-04095DD45EA7}" type="slidenum">
              <a:rPr lang="en-US" smtClean="0"/>
              <a:t>9</a:t>
            </a:fld>
            <a:endParaRPr lang="en-US"/>
          </a:p>
        </p:txBody>
      </p:sp>
    </p:spTree>
    <p:extLst>
      <p:ext uri="{BB962C8B-B14F-4D97-AF65-F5344CB8AC3E}">
        <p14:creationId xmlns:p14="http://schemas.microsoft.com/office/powerpoint/2010/main" val="530920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Freeform 11"/>
          <p:cNvSpPr>
            <a:spLocks noChangeArrowheads="1"/>
          </p:cNvSpPr>
          <p:nvPr/>
        </p:nvSpPr>
        <p:spPr bwMode="white">
          <a:xfrm>
            <a:off x="8429022" y="0"/>
            <a:ext cx="3762978" cy="6858000"/>
          </a:xfrm>
          <a:custGeom>
            <a:avLst/>
            <a:gdLst>
              <a:gd name="connsiteX0" fmla="*/ 0 w 3762978"/>
              <a:gd name="connsiteY0" fmla="*/ 0 h 6858000"/>
              <a:gd name="connsiteX1" fmla="*/ 3762978 w 3762978"/>
              <a:gd name="connsiteY1" fmla="*/ 0 h 6858000"/>
              <a:gd name="connsiteX2" fmla="*/ 3762978 w 3762978"/>
              <a:gd name="connsiteY2" fmla="*/ 6858000 h 6858000"/>
              <a:gd name="connsiteX3" fmla="*/ 338667 w 3762978"/>
              <a:gd name="connsiteY3" fmla="*/ 6858000 h 6858000"/>
              <a:gd name="connsiteX4" fmla="*/ 1189567 w 3762978"/>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2978" h="6858000">
                <a:moveTo>
                  <a:pt x="0" y="0"/>
                </a:moveTo>
                <a:lnTo>
                  <a:pt x="3762978" y="0"/>
                </a:lnTo>
                <a:lnTo>
                  <a:pt x="3762978" y="6858000"/>
                </a:lnTo>
                <a:lnTo>
                  <a:pt x="338667" y="6858000"/>
                </a:lnTo>
                <a:lnTo>
                  <a:pt x="1189567" y="4337050"/>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sz="1800" dirty="0"/>
          </a:p>
        </p:txBody>
      </p:sp>
      <p:sp>
        <p:nvSpPr>
          <p:cNvPr id="7" name="Freeform 6"/>
          <p:cNvSpPr>
            <a:spLocks/>
          </p:cNvSpPr>
          <p:nvPr/>
        </p:nvSpPr>
        <p:spPr bwMode="auto">
          <a:xfrm>
            <a:off x="8145385"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bodyPr>
          <a:lstStyle/>
          <a:p>
            <a:pPr lvl="0"/>
            <a:endParaRPr lang="en-US" sz="1800" dirty="0"/>
          </a:p>
        </p:txBody>
      </p:sp>
      <p:sp>
        <p:nvSpPr>
          <p:cNvPr id="8" name="Freeform 7"/>
          <p:cNvSpPr>
            <a:spLocks/>
          </p:cNvSpPr>
          <p:nvPr/>
        </p:nvSpPr>
        <p:spPr bwMode="auto">
          <a:xfrm>
            <a:off x="7950653" y="0"/>
            <a:ext cx="1528232" cy="6858000"/>
          </a:xfrm>
          <a:custGeom>
            <a:avLst/>
            <a:gdLst/>
            <a:ahLst/>
            <a:cxnLst/>
            <a:rect l="l" t="t" r="r" b="b"/>
            <a:pathLst>
              <a:path w="1146174" h="6858000">
                <a:moveTo>
                  <a:pt x="0" y="0"/>
                </a:moveTo>
                <a:lnTo>
                  <a:pt x="253999" y="0"/>
                </a:lnTo>
                <a:lnTo>
                  <a:pt x="1146174" y="4337050"/>
                </a:lnTo>
                <a:lnTo>
                  <a:pt x="511174" y="6858000"/>
                </a:lnTo>
                <a:lnTo>
                  <a:pt x="254000" y="6858000"/>
                </a:lnTo>
                <a:lnTo>
                  <a:pt x="892175" y="4337050"/>
                </a:lnTo>
                <a:close/>
              </a:path>
            </a:pathLst>
          </a:custGeom>
          <a:solidFill>
            <a:schemeClr val="accent1"/>
          </a:solidFill>
          <a:ln>
            <a:noFill/>
          </a:ln>
          <a:effectLst>
            <a:innerShdw blurRad="1778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dirty="0"/>
          </a:p>
        </p:txBody>
      </p:sp>
      <p:sp>
        <p:nvSpPr>
          <p:cNvPr id="2" name="Title 1"/>
          <p:cNvSpPr>
            <a:spLocks noGrp="1"/>
          </p:cNvSpPr>
          <p:nvPr>
            <p:ph type="ctrTitle"/>
          </p:nvPr>
        </p:nvSpPr>
        <p:spPr>
          <a:xfrm>
            <a:off x="1295400" y="1873584"/>
            <a:ext cx="6400800" cy="2560320"/>
          </a:xfrm>
        </p:spPr>
        <p:txBody>
          <a:bodyPr anchor="b">
            <a:normAutofit/>
          </a:bodyPr>
          <a:lstStyle>
            <a:lvl1pPr algn="l">
              <a:defRPr sz="4000">
                <a:solidFill>
                  <a:schemeClr val="tx1"/>
                </a:solidFill>
                <a:latin typeface="Tw Cen MT Condensed Extra Bold" panose="020B0803020202020204" pitchFamily="34" charset="0"/>
              </a:defRPr>
            </a:lvl1pPr>
          </a:lstStyle>
          <a:p>
            <a:r>
              <a:rPr lang="en-US" dirty="0"/>
              <a:t>Click to edit Master title style</a:t>
            </a:r>
          </a:p>
        </p:txBody>
      </p:sp>
      <p:sp>
        <p:nvSpPr>
          <p:cNvPr id="3" name="Subtitle 2"/>
          <p:cNvSpPr>
            <a:spLocks noGrp="1"/>
          </p:cNvSpPr>
          <p:nvPr>
            <p:ph type="subTitle" idx="1"/>
          </p:nvPr>
        </p:nvSpPr>
        <p:spPr>
          <a:xfrm>
            <a:off x="1295400" y="4572000"/>
            <a:ext cx="6400800" cy="1600200"/>
          </a:xfrm>
        </p:spPr>
        <p:txBody>
          <a:bodyPr/>
          <a:lstStyle>
            <a:lvl1pPr marL="0" indent="0" algn="l">
              <a:spcBef>
                <a:spcPts val="12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6956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400" y="255134"/>
            <a:ext cx="9601200" cy="1036850"/>
          </a:xfrm>
        </p:spPr>
        <p:txBody>
          <a:bodyPr anchor="b">
            <a:normAutofit/>
          </a:bodyPr>
          <a:lstStyle>
            <a:lvl1pPr>
              <a:defRPr sz="2800"/>
            </a:lvl1pPr>
          </a:lstStyle>
          <a:p>
            <a:r>
              <a:rPr lang="en-US" dirty="0"/>
              <a:t>Click to edit Master title style</a:t>
            </a:r>
          </a:p>
        </p:txBody>
      </p:sp>
      <p:sp>
        <p:nvSpPr>
          <p:cNvPr id="3" name="Picture Placeholder 2"/>
          <p:cNvSpPr>
            <a:spLocks noGrp="1"/>
          </p:cNvSpPr>
          <p:nvPr>
            <p:ph type="pic" idx="1"/>
          </p:nvPr>
        </p:nvSpPr>
        <p:spPr>
          <a:xfrm>
            <a:off x="4724400" y="1828801"/>
            <a:ext cx="6172200" cy="4343400"/>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295400" y="1828800"/>
            <a:ext cx="3017520" cy="4343400"/>
          </a:xfrm>
        </p:spPr>
        <p:txBody>
          <a:bodyPr anchor="ctr">
            <a:normAutofit/>
          </a:bodyPr>
          <a:lstStyle>
            <a:lvl1pPr marL="0" indent="0">
              <a:spcBef>
                <a:spcPts val="1200"/>
              </a:spcBef>
              <a:buNone/>
              <a:defRPr sz="20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239462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9" name="Rectangle 8"/>
          <p:cNvSpPr/>
          <p:nvPr/>
        </p:nvSpPr>
        <p:spPr>
          <a:xfrm>
            <a:off x="1295400" y="5257800"/>
            <a:ext cx="45720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295400" y="255134"/>
            <a:ext cx="9601200" cy="1036850"/>
          </a:xfrm>
        </p:spPr>
        <p:txBody>
          <a:bodyPr anchor="b">
            <a:normAutofit/>
          </a:bodyPr>
          <a:lstStyle>
            <a:lvl1pPr>
              <a:defRPr sz="2800"/>
            </a:lvl1pPr>
          </a:lstStyle>
          <a:p>
            <a:r>
              <a:rPr lang="en-US" dirty="0"/>
              <a:t>Click to edit Master title style</a:t>
            </a:r>
          </a:p>
        </p:txBody>
      </p:sp>
      <p:sp>
        <p:nvSpPr>
          <p:cNvPr id="4" name="Text Placeholder 3"/>
          <p:cNvSpPr>
            <a:spLocks noGrp="1"/>
          </p:cNvSpPr>
          <p:nvPr>
            <p:ph type="body" sz="half" idx="2"/>
          </p:nvPr>
        </p:nvSpPr>
        <p:spPr>
          <a:xfrm>
            <a:off x="1371273" y="5333098"/>
            <a:ext cx="4420252" cy="839102"/>
          </a:xfrm>
        </p:spPr>
        <p:txBody>
          <a:bodyPr anchor="t">
            <a:normAutofit/>
          </a:bodyPr>
          <a:lstStyle>
            <a:lvl1pPr marL="0" indent="0">
              <a:spcBef>
                <a:spcPts val="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7791449" y="6374999"/>
            <a:ext cx="1480705" cy="274320"/>
          </a:xfrm>
          <a:prstGeom prst="rect">
            <a:avLst/>
          </a:prstGeom>
        </p:spPr>
        <p:txBody>
          <a:bodyPr/>
          <a:lstStyle/>
          <a:p>
            <a:endParaRPr lang="en-US" dirty="0"/>
          </a:p>
        </p:txBody>
      </p:sp>
      <p:sp>
        <p:nvSpPr>
          <p:cNvPr id="6" name="Footer Placeholder 5"/>
          <p:cNvSpPr>
            <a:spLocks noGrp="1"/>
          </p:cNvSpPr>
          <p:nvPr>
            <p:ph type="ftr" sz="quarter" idx="11"/>
          </p:nvPr>
        </p:nvSpPr>
        <p:spPr>
          <a:xfrm>
            <a:off x="1295399" y="6374999"/>
            <a:ext cx="6243203" cy="274320"/>
          </a:xfrm>
          <a:prstGeom prst="rect">
            <a:avLst/>
          </a:prstGeom>
        </p:spPr>
        <p:txBody>
          <a:bodyPr/>
          <a:lstStyle/>
          <a:p>
            <a:endParaRPr lang="en-US" dirty="0"/>
          </a:p>
        </p:txBody>
      </p:sp>
      <p:sp>
        <p:nvSpPr>
          <p:cNvPr id="7" name="Slide Number Placeholder 6"/>
          <p:cNvSpPr>
            <a:spLocks noGrp="1"/>
          </p:cNvSpPr>
          <p:nvPr>
            <p:ph type="sldNum" sz="quarter" idx="12"/>
          </p:nvPr>
        </p:nvSpPr>
        <p:spPr>
          <a:xfrm>
            <a:off x="9525000" y="6374999"/>
            <a:ext cx="1371600" cy="274320"/>
          </a:xfrm>
          <a:prstGeom prst="rect">
            <a:avLst/>
          </a:prstGeom>
        </p:spPr>
        <p:txBody>
          <a:bodyPr/>
          <a:lstStyle/>
          <a:p>
            <a:fld id="{A7F8E3F6-DE14-48B2-B2BC-6FABA9630FB8}" type="slidenum">
              <a:rPr lang="en-US" smtClean="0"/>
              <a:t>‹#›</a:t>
            </a:fld>
            <a:endParaRPr lang="en-US" dirty="0"/>
          </a:p>
        </p:txBody>
      </p:sp>
      <p:sp>
        <p:nvSpPr>
          <p:cNvPr id="10" name="Rectangle 9"/>
          <p:cNvSpPr/>
          <p:nvPr/>
        </p:nvSpPr>
        <p:spPr>
          <a:xfrm>
            <a:off x="6324599" y="5257800"/>
            <a:ext cx="45720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1295400" y="5257800"/>
            <a:ext cx="4572000" cy="5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Rectangle 11"/>
          <p:cNvSpPr/>
          <p:nvPr/>
        </p:nvSpPr>
        <p:spPr>
          <a:xfrm>
            <a:off x="6324599" y="5257800"/>
            <a:ext cx="4572000" cy="5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Text Placeholder 3"/>
          <p:cNvSpPr>
            <a:spLocks noGrp="1"/>
          </p:cNvSpPr>
          <p:nvPr>
            <p:ph type="body" sz="half" idx="14"/>
          </p:nvPr>
        </p:nvSpPr>
        <p:spPr>
          <a:xfrm>
            <a:off x="6412954" y="5333098"/>
            <a:ext cx="4420252" cy="839102"/>
          </a:xfrm>
        </p:spPr>
        <p:txBody>
          <a:bodyPr anchor="t">
            <a:normAutofit/>
          </a:bodyPr>
          <a:lstStyle>
            <a:lvl1pPr marL="0" indent="0">
              <a:spcBef>
                <a:spcPts val="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3" name="Picture Placeholder 2"/>
          <p:cNvSpPr>
            <a:spLocks noGrp="1"/>
          </p:cNvSpPr>
          <p:nvPr>
            <p:ph type="pic" idx="1"/>
          </p:nvPr>
        </p:nvSpPr>
        <p:spPr>
          <a:xfrm>
            <a:off x="1295400" y="1828801"/>
            <a:ext cx="4572000" cy="3428999"/>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Picture Placeholder 2"/>
          <p:cNvSpPr>
            <a:spLocks noGrp="1"/>
          </p:cNvSpPr>
          <p:nvPr>
            <p:ph type="pic" idx="13"/>
          </p:nvPr>
        </p:nvSpPr>
        <p:spPr>
          <a:xfrm>
            <a:off x="6324600" y="1828801"/>
            <a:ext cx="4572000" cy="3428999"/>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1644165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7791449" y="6374999"/>
            <a:ext cx="1480705" cy="274320"/>
          </a:xfrm>
          <a:prstGeom prst="rect">
            <a:avLst/>
          </a:prstGeom>
        </p:spPr>
        <p:txBody>
          <a:bodyPr/>
          <a:lstStyle/>
          <a:p>
            <a:endParaRPr lang="en-US" dirty="0"/>
          </a:p>
        </p:txBody>
      </p:sp>
      <p:sp>
        <p:nvSpPr>
          <p:cNvPr id="5" name="Footer Placeholder 4"/>
          <p:cNvSpPr>
            <a:spLocks noGrp="1"/>
          </p:cNvSpPr>
          <p:nvPr>
            <p:ph type="ftr" sz="quarter" idx="11"/>
          </p:nvPr>
        </p:nvSpPr>
        <p:spPr>
          <a:xfrm>
            <a:off x="1295399" y="6374999"/>
            <a:ext cx="6243203" cy="274320"/>
          </a:xfrm>
          <a:prstGeom prst="rect">
            <a:avLst/>
          </a:prstGeom>
        </p:spPr>
        <p:txBody>
          <a:bodyPr/>
          <a:lstStyle/>
          <a:p>
            <a:endParaRPr lang="en-US" dirty="0"/>
          </a:p>
        </p:txBody>
      </p:sp>
      <p:sp>
        <p:nvSpPr>
          <p:cNvPr id="6" name="Slide Number Placeholder 5"/>
          <p:cNvSpPr>
            <a:spLocks noGrp="1"/>
          </p:cNvSpPr>
          <p:nvPr>
            <p:ph type="sldNum" sz="quarter" idx="12"/>
          </p:nvPr>
        </p:nvSpPr>
        <p:spPr>
          <a:xfrm>
            <a:off x="9525000" y="6374999"/>
            <a:ext cx="1371600" cy="274320"/>
          </a:xfrm>
          <a:prstGeom prst="rect">
            <a:avLst/>
          </a:prstGeom>
        </p:spPr>
        <p:txBody>
          <a:bodyPr/>
          <a:lstStyle/>
          <a:p>
            <a:fld id="{A7F8E3F6-DE14-48B2-B2BC-6FABA9630FB8}" type="slidenum">
              <a:rPr lang="en-US" smtClean="0"/>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697360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white">
          <a:xfrm rot="5400000">
            <a:off x="7562850" y="2228850"/>
            <a:ext cx="6858000" cy="2400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rot="5400000">
            <a:off x="6331230" y="3387909"/>
            <a:ext cx="6858000" cy="821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rot="5400000">
            <a:off x="6251613" y="3387909"/>
            <a:ext cx="6858000" cy="821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Vertical Title 1"/>
          <p:cNvSpPr>
            <a:spLocks noGrp="1"/>
          </p:cNvSpPr>
          <p:nvPr>
            <p:ph type="title" orient="vert"/>
          </p:nvPr>
        </p:nvSpPr>
        <p:spPr>
          <a:xfrm>
            <a:off x="9871318" y="1378252"/>
            <a:ext cx="1033272" cy="5486400"/>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1295400" y="685800"/>
            <a:ext cx="7976754" cy="5486400"/>
          </a:xfrm>
        </p:spPr>
        <p:txBody>
          <a:bodyPr vert="eaVert"/>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7791449" y="6374999"/>
            <a:ext cx="1480705" cy="274320"/>
          </a:xfrm>
          <a:prstGeom prst="rect">
            <a:avLst/>
          </a:prstGeom>
        </p:spPr>
        <p:txBody>
          <a:bodyPr/>
          <a:lstStyle/>
          <a:p>
            <a:endParaRPr lang="en-US" dirty="0"/>
          </a:p>
        </p:txBody>
      </p:sp>
      <p:sp>
        <p:nvSpPr>
          <p:cNvPr id="5" name="Footer Placeholder 4"/>
          <p:cNvSpPr>
            <a:spLocks noGrp="1"/>
          </p:cNvSpPr>
          <p:nvPr>
            <p:ph type="ftr" sz="quarter" idx="11"/>
          </p:nvPr>
        </p:nvSpPr>
        <p:spPr>
          <a:xfrm>
            <a:off x="1295399" y="6374999"/>
            <a:ext cx="6243203" cy="274320"/>
          </a:xfrm>
          <a:prstGeom prst="rect">
            <a:avLst/>
          </a:prstGeom>
        </p:spPr>
        <p:txBody>
          <a:bodyPr/>
          <a:lstStyle/>
          <a:p>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899781">
            <a:off x="10097457" y="158639"/>
            <a:ext cx="904995" cy="1054322"/>
          </a:xfrm>
          <a:prstGeom prst="rect">
            <a:avLst/>
          </a:prstGeom>
        </p:spPr>
      </p:pic>
    </p:spTree>
    <p:extLst>
      <p:ext uri="{BB962C8B-B14F-4D97-AF65-F5344CB8AC3E}">
        <p14:creationId xmlns:p14="http://schemas.microsoft.com/office/powerpoint/2010/main" val="350151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Rectangle 7"/>
          <p:cNvSpPr/>
          <p:nvPr/>
        </p:nvSpPr>
        <p:spPr>
          <a:xfrm>
            <a:off x="1600199" y="2059146"/>
            <a:ext cx="7199696" cy="388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
        <p:nvSpPr>
          <p:cNvPr id="2" name="Title 1"/>
          <p:cNvSpPr>
            <a:spLocks noGrp="1"/>
          </p:cNvSpPr>
          <p:nvPr>
            <p:ph type="title"/>
          </p:nvPr>
        </p:nvSpPr>
        <p:spPr>
          <a:xfrm>
            <a:off x="1751777" y="2263913"/>
            <a:ext cx="6949440" cy="3143393"/>
          </a:xfrm>
        </p:spPr>
        <p:txBody>
          <a:bodyPr anchor="b"/>
          <a:lstStyle>
            <a:lvl1pPr>
              <a:defRPr sz="6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751777" y="5381893"/>
            <a:ext cx="6949440" cy="449523"/>
          </a:xfrm>
        </p:spPr>
        <p:txBody>
          <a:bodyPr/>
          <a:lstStyle>
            <a:lvl1pPr marL="0" indent="0">
              <a:spcBef>
                <a:spcPts val="0"/>
              </a:spcBef>
              <a:buNone/>
              <a:defRPr sz="2400">
                <a:solidFill>
                  <a:schemeClr val="bg1"/>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12" name="Picture Placeholder 11"/>
          <p:cNvSpPr>
            <a:spLocks noGrp="1"/>
          </p:cNvSpPr>
          <p:nvPr>
            <p:ph type="pic" sz="quarter" idx="11"/>
          </p:nvPr>
        </p:nvSpPr>
        <p:spPr>
          <a:xfrm>
            <a:off x="0" y="2058987"/>
            <a:ext cx="1470025" cy="3886359"/>
          </a:xfrm>
        </p:spPr>
        <p:txBody>
          <a:bodyPr/>
          <a:lstStyle/>
          <a:p>
            <a:endParaRPr lang="en-US" dirty="0"/>
          </a:p>
        </p:txBody>
      </p:sp>
      <p:sp>
        <p:nvSpPr>
          <p:cNvPr id="14" name="Picture Placeholder 13"/>
          <p:cNvSpPr>
            <a:spLocks noGrp="1"/>
          </p:cNvSpPr>
          <p:nvPr>
            <p:ph type="pic" sz="quarter" idx="12"/>
          </p:nvPr>
        </p:nvSpPr>
        <p:spPr>
          <a:xfrm>
            <a:off x="8930069" y="2058988"/>
            <a:ext cx="3261931" cy="3886358"/>
          </a:xfrm>
        </p:spPr>
        <p:txBody>
          <a:bodyPr/>
          <a:lstStyle/>
          <a:p>
            <a:endParaRPr lang="en-US" dirty="0"/>
          </a:p>
        </p:txBody>
      </p:sp>
    </p:spTree>
    <p:extLst>
      <p:ext uri="{BB962C8B-B14F-4D97-AF65-F5344CB8AC3E}">
        <p14:creationId xmlns:p14="http://schemas.microsoft.com/office/powerpoint/2010/main" val="4167784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68">
          <p15:clr>
            <a:srgbClr val="FDE53C"/>
          </p15:clr>
        </p15:guide>
        <p15:guide id="2" orient="horz" pos="1296">
          <p15:clr>
            <a:srgbClr val="FDE53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8F207-CF19-A54F-ABBB-D934E6A06614}"/>
              </a:ext>
            </a:extLst>
          </p:cNvPr>
          <p:cNvSpPr>
            <a:spLocks noGrp="1"/>
          </p:cNvSpPr>
          <p:nvPr>
            <p:ph type="ctrTitle"/>
          </p:nvPr>
        </p:nvSpPr>
        <p:spPr>
          <a:xfrm>
            <a:off x="1524000" y="914400"/>
            <a:ext cx="9144000" cy="2387600"/>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21EA17D9-D0F5-CC40-9F87-7C17DBBDCE3A}"/>
              </a:ext>
            </a:extLst>
          </p:cNvPr>
          <p:cNvSpPr>
            <a:spLocks noGrp="1"/>
          </p:cNvSpPr>
          <p:nvPr>
            <p:ph type="subTitle" idx="1"/>
          </p:nvPr>
        </p:nvSpPr>
        <p:spPr>
          <a:xfrm>
            <a:off x="1524000" y="3422107"/>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Date Placeholder 3">
            <a:extLst>
              <a:ext uri="{FF2B5EF4-FFF2-40B4-BE49-F238E27FC236}">
                <a16:creationId xmlns:a16="http://schemas.microsoft.com/office/drawing/2014/main" id="{876F0139-106E-2A4C-A4D7-0BC24E8A955A}"/>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13" name="Slide Number Placeholder 5">
            <a:extLst>
              <a:ext uri="{FF2B5EF4-FFF2-40B4-BE49-F238E27FC236}">
                <a16:creationId xmlns:a16="http://schemas.microsoft.com/office/drawing/2014/main" id="{22F87369-B945-5D4C-BA08-B93B655CF8E4}"/>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19315804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6689902-F536-6B48-91E5-678DDABDE55C}"/>
              </a:ext>
            </a:extLst>
          </p:cNvPr>
          <p:cNvSpPr>
            <a:spLocks noGrp="1"/>
          </p:cNvSpPr>
          <p:nvPr>
            <p:ph type="title"/>
          </p:nvPr>
        </p:nvSpPr>
        <p:spPr>
          <a:xfrm>
            <a:off x="838200" y="312398"/>
            <a:ext cx="10515600" cy="97506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6" name="Text Placeholder 2">
            <a:extLst>
              <a:ext uri="{FF2B5EF4-FFF2-40B4-BE49-F238E27FC236}">
                <a16:creationId xmlns:a16="http://schemas.microsoft.com/office/drawing/2014/main" id="{FA9FB652-7F0F-F446-AD8C-427BE13F5F74}"/>
              </a:ext>
            </a:extLst>
          </p:cNvPr>
          <p:cNvSpPr>
            <a:spLocks noGrp="1"/>
          </p:cNvSpPr>
          <p:nvPr>
            <p:ph idx="1"/>
          </p:nvPr>
        </p:nvSpPr>
        <p:spPr>
          <a:xfrm>
            <a:off x="1018082" y="1462792"/>
            <a:ext cx="10515600" cy="40838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Date Placeholder 3">
            <a:extLst>
              <a:ext uri="{FF2B5EF4-FFF2-40B4-BE49-F238E27FC236}">
                <a16:creationId xmlns:a16="http://schemas.microsoft.com/office/drawing/2014/main" id="{A8AC17F5-4E86-EB48-AE8B-23B579E9B4EE}"/>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22" name="Slide Number Placeholder 5">
            <a:extLst>
              <a:ext uri="{FF2B5EF4-FFF2-40B4-BE49-F238E27FC236}">
                <a16:creationId xmlns:a16="http://schemas.microsoft.com/office/drawing/2014/main" id="{C43E6A1B-C6B1-3740-812C-0E6FC13CAC61}"/>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3280101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43DB-4E09-7348-B00D-9B36266379B1}"/>
              </a:ext>
            </a:extLst>
          </p:cNvPr>
          <p:cNvSpPr>
            <a:spLocks noGrp="1"/>
          </p:cNvSpPr>
          <p:nvPr>
            <p:ph type="title"/>
          </p:nvPr>
        </p:nvSpPr>
        <p:spPr>
          <a:xfrm>
            <a:off x="831850" y="914400"/>
            <a:ext cx="10515600" cy="1871662"/>
          </a:xfrm>
        </p:spPr>
        <p:txBody>
          <a:bodyPr anchor="b"/>
          <a:lstStyle>
            <a:lvl1pPr>
              <a:defRPr sz="6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1BE9F53-389D-1F4A-B63B-9A0F6EC480D5}"/>
              </a:ext>
            </a:extLst>
          </p:cNvPr>
          <p:cNvSpPr>
            <a:spLocks noGrp="1"/>
          </p:cNvSpPr>
          <p:nvPr>
            <p:ph type="body" idx="1"/>
          </p:nvPr>
        </p:nvSpPr>
        <p:spPr>
          <a:xfrm>
            <a:off x="831850" y="2920673"/>
            <a:ext cx="10515600" cy="1776688"/>
          </a:xfrm>
          <a:prstGeom prst="rect">
            <a:avLst/>
          </a:prstGeom>
        </p:spPr>
        <p:txBody>
          <a:bodyPr/>
          <a:lstStyle>
            <a:lvl1pPr marL="0" indent="0">
              <a:buNone/>
              <a:defRPr sz="2400">
                <a:solidFill>
                  <a:srgbClr val="3D8EC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6" name="Date Placeholder 3">
            <a:extLst>
              <a:ext uri="{FF2B5EF4-FFF2-40B4-BE49-F238E27FC236}">
                <a16:creationId xmlns:a16="http://schemas.microsoft.com/office/drawing/2014/main" id="{B3D14CA9-7BE9-1741-B2B2-D699581A34A1}"/>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17" name="Slide Number Placeholder 5">
            <a:extLst>
              <a:ext uri="{FF2B5EF4-FFF2-40B4-BE49-F238E27FC236}">
                <a16:creationId xmlns:a16="http://schemas.microsoft.com/office/drawing/2014/main" id="{A291D55F-8C87-2742-9BBE-19200A01D763}"/>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5764194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54B3CA8-C665-1D47-A1E2-2570900F7E67}"/>
              </a:ext>
            </a:extLst>
          </p:cNvPr>
          <p:cNvSpPr>
            <a:spLocks noGrp="1"/>
          </p:cNvSpPr>
          <p:nvPr>
            <p:ph type="title"/>
          </p:nvPr>
        </p:nvSpPr>
        <p:spPr>
          <a:xfrm>
            <a:off x="838200" y="312398"/>
            <a:ext cx="10515600" cy="97506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6" name="Date Placeholder 3">
            <a:extLst>
              <a:ext uri="{FF2B5EF4-FFF2-40B4-BE49-F238E27FC236}">
                <a16:creationId xmlns:a16="http://schemas.microsoft.com/office/drawing/2014/main" id="{56A27D28-FA1A-1848-8888-92BBBEF2CF8C}"/>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17" name="Slide Number Placeholder 5">
            <a:extLst>
              <a:ext uri="{FF2B5EF4-FFF2-40B4-BE49-F238E27FC236}">
                <a16:creationId xmlns:a16="http://schemas.microsoft.com/office/drawing/2014/main" id="{58D34732-5FB9-8E43-9A5B-CFAA46C4E79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39580843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6" name="Date Placeholder 3">
            <a:extLst>
              <a:ext uri="{FF2B5EF4-FFF2-40B4-BE49-F238E27FC236}">
                <a16:creationId xmlns:a16="http://schemas.microsoft.com/office/drawing/2014/main" id="{0DE6218D-6FC9-CA48-8F1E-4E421570BB3B}"/>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17" name="Slide Number Placeholder 5">
            <a:extLst>
              <a:ext uri="{FF2B5EF4-FFF2-40B4-BE49-F238E27FC236}">
                <a16:creationId xmlns:a16="http://schemas.microsoft.com/office/drawing/2014/main" id="{5097C6E3-670C-B747-A462-FE4EF4E35512}"/>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
        <p:nvSpPr>
          <p:cNvPr id="19" name="Content Placeholder 2">
            <a:extLst>
              <a:ext uri="{FF2B5EF4-FFF2-40B4-BE49-F238E27FC236}">
                <a16:creationId xmlns:a16="http://schemas.microsoft.com/office/drawing/2014/main" id="{B2C02BB6-291E-CF43-938A-B721E60135C8}"/>
              </a:ext>
            </a:extLst>
          </p:cNvPr>
          <p:cNvSpPr>
            <a:spLocks noGrp="1"/>
          </p:cNvSpPr>
          <p:nvPr>
            <p:ph idx="1"/>
          </p:nvPr>
        </p:nvSpPr>
        <p:spPr>
          <a:xfrm>
            <a:off x="6096000" y="1600200"/>
            <a:ext cx="5233416" cy="4032504"/>
          </a:xfrm>
          <a:prstGeom prst="rect">
            <a:avLst/>
          </a:prstGeom>
        </p:spPr>
        <p:txBody>
          <a:bodyPr>
            <a:norm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2">
            <a:extLst>
              <a:ext uri="{FF2B5EF4-FFF2-40B4-BE49-F238E27FC236}">
                <a16:creationId xmlns:a16="http://schemas.microsoft.com/office/drawing/2014/main" id="{B0BA25A4-BBA2-C147-98F7-F2F76C566C42}"/>
              </a:ext>
            </a:extLst>
          </p:cNvPr>
          <p:cNvSpPr>
            <a:spLocks noGrp="1"/>
          </p:cNvSpPr>
          <p:nvPr>
            <p:ph idx="10"/>
          </p:nvPr>
        </p:nvSpPr>
        <p:spPr>
          <a:xfrm>
            <a:off x="838200" y="1600200"/>
            <a:ext cx="5050536" cy="4032504"/>
          </a:xfrm>
          <a:prstGeom prst="rect">
            <a:avLst/>
          </a:prstGeom>
        </p:spPr>
        <p:txBody>
          <a:bodyPr>
            <a:normAutofit/>
          </a:bodyPr>
          <a:lstStyle>
            <a:lvl1pPr marL="0" indent="0">
              <a:buNone/>
              <a:defRPr sz="24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p:txBody>
      </p:sp>
      <p:sp>
        <p:nvSpPr>
          <p:cNvPr id="21" name="Title 1">
            <a:extLst>
              <a:ext uri="{FF2B5EF4-FFF2-40B4-BE49-F238E27FC236}">
                <a16:creationId xmlns:a16="http://schemas.microsoft.com/office/drawing/2014/main" id="{EF73E4AA-87EB-6540-B879-034E147ADDC8}"/>
              </a:ext>
            </a:extLst>
          </p:cNvPr>
          <p:cNvSpPr>
            <a:spLocks noGrp="1"/>
          </p:cNvSpPr>
          <p:nvPr>
            <p:ph type="title"/>
          </p:nvPr>
        </p:nvSpPr>
        <p:spPr>
          <a:xfrm>
            <a:off x="838200" y="278948"/>
            <a:ext cx="10515600" cy="1038224"/>
          </a:xfrm>
        </p:spPr>
        <p:txBody>
          <a:bodyPr/>
          <a:lstStyle/>
          <a:p>
            <a:r>
              <a:rPr lang="en-US"/>
              <a:t>Click to edit Master title style</a:t>
            </a:r>
          </a:p>
        </p:txBody>
      </p:sp>
    </p:spTree>
    <p:extLst>
      <p:ext uri="{BB962C8B-B14F-4D97-AF65-F5344CB8AC3E}">
        <p14:creationId xmlns:p14="http://schemas.microsoft.com/office/powerpoint/2010/main" val="3983297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atin typeface="Tw Cen MT Condensed Extra Bold" panose="020B0803020202020204" pitchFamily="34" charset="0"/>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defRPr sz="3600">
                <a:latin typeface="Cambria" panose="02040503050406030204" pitchFamily="18" charset="0"/>
              </a:defRPr>
            </a:lvl1pPr>
            <a:lvl2pPr>
              <a:defRPr sz="3200">
                <a:latin typeface="Cambria" panose="02040503050406030204" pitchFamily="18" charset="0"/>
              </a:defRPr>
            </a:lvl2pPr>
            <a:lvl3pPr>
              <a:defRPr sz="2800">
                <a:latin typeface="Cambria" panose="02040503050406030204" pitchFamily="18" charset="0"/>
              </a:defRPr>
            </a:lvl3pPr>
            <a:lvl4pPr>
              <a:defRPr sz="2400">
                <a:latin typeface="Cambria" panose="02040503050406030204" pitchFamily="18" charset="0"/>
              </a:defRPr>
            </a:lvl4pPr>
            <a:lvl5pPr>
              <a:defRPr sz="2400">
                <a:latin typeface="Cambria" panose="020405030504060302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410489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B2DCE-C899-3042-8E66-A753FF983266}"/>
              </a:ext>
            </a:extLst>
          </p:cNvPr>
          <p:cNvSpPr>
            <a:spLocks noGrp="1"/>
          </p:cNvSpPr>
          <p:nvPr>
            <p:ph type="title"/>
          </p:nvPr>
        </p:nvSpPr>
        <p:spPr>
          <a:xfrm>
            <a:off x="839788" y="914400"/>
            <a:ext cx="3932237" cy="1228954"/>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1158C37-1FF0-0842-93DB-4578168CB354}"/>
              </a:ext>
            </a:extLst>
          </p:cNvPr>
          <p:cNvSpPr>
            <a:spLocks noGrp="1"/>
          </p:cNvSpPr>
          <p:nvPr>
            <p:ph idx="1"/>
          </p:nvPr>
        </p:nvSpPr>
        <p:spPr>
          <a:xfrm>
            <a:off x="5183188" y="914400"/>
            <a:ext cx="6172200" cy="469061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10140B73-0953-6347-BFC3-D5290D877311}"/>
              </a:ext>
            </a:extLst>
          </p:cNvPr>
          <p:cNvSpPr>
            <a:spLocks noGrp="1"/>
          </p:cNvSpPr>
          <p:nvPr>
            <p:ph type="body" sz="half" idx="2"/>
          </p:nvPr>
        </p:nvSpPr>
        <p:spPr>
          <a:xfrm>
            <a:off x="839788" y="2368961"/>
            <a:ext cx="3932237" cy="323605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7" name="Date Placeholder 3">
            <a:extLst>
              <a:ext uri="{FF2B5EF4-FFF2-40B4-BE49-F238E27FC236}">
                <a16:creationId xmlns:a16="http://schemas.microsoft.com/office/drawing/2014/main" id="{9DE9EACA-8D46-124A-B10C-7FCE873AE868}"/>
              </a:ext>
            </a:extLst>
          </p:cNvPr>
          <p:cNvSpPr>
            <a:spLocks noGrp="1"/>
          </p:cNvSpPr>
          <p:nvPr>
            <p:ph type="dt" sz="half" idx="10"/>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18" name="Slide Number Placeholder 5">
            <a:extLst>
              <a:ext uri="{FF2B5EF4-FFF2-40B4-BE49-F238E27FC236}">
                <a16:creationId xmlns:a16="http://schemas.microsoft.com/office/drawing/2014/main" id="{E0DD7325-A976-0A49-9589-9C9D34ADD0F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1544223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B2DCE-C899-3042-8E66-A753FF983266}"/>
              </a:ext>
            </a:extLst>
          </p:cNvPr>
          <p:cNvSpPr>
            <a:spLocks noGrp="1"/>
          </p:cNvSpPr>
          <p:nvPr>
            <p:ph type="title"/>
          </p:nvPr>
        </p:nvSpPr>
        <p:spPr>
          <a:xfrm>
            <a:off x="839788" y="1435608"/>
            <a:ext cx="5039804" cy="4169410"/>
          </a:xfrm>
        </p:spPr>
        <p:txBody>
          <a:bodyPr anchor="t" anchorCtr="0">
            <a:normAutofit/>
          </a:bodyPr>
          <a:lstStyle>
            <a:lvl1pPr>
              <a:defRPr sz="24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1158C37-1FF0-0842-93DB-4578168CB354}"/>
              </a:ext>
            </a:extLst>
          </p:cNvPr>
          <p:cNvSpPr>
            <a:spLocks noGrp="1"/>
          </p:cNvSpPr>
          <p:nvPr>
            <p:ph idx="1"/>
          </p:nvPr>
        </p:nvSpPr>
        <p:spPr>
          <a:xfrm>
            <a:off x="6096000" y="1435608"/>
            <a:ext cx="5259388" cy="4169410"/>
          </a:xfrm>
          <a:prstGeom prst="rect">
            <a:avLst/>
          </a:prstGeom>
        </p:spPr>
        <p:txBody>
          <a:bodyPr>
            <a:normAutofit/>
          </a:bodyPr>
          <a:lstStyle>
            <a:lvl1pPr marL="0" indent="0">
              <a:buFontTx/>
              <a:buNone/>
              <a:defRPr sz="1800">
                <a:solidFill>
                  <a:srgbClr val="003366"/>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p:txBody>
      </p:sp>
      <p:sp>
        <p:nvSpPr>
          <p:cNvPr id="7" name="Date Placeholder 3">
            <a:extLst>
              <a:ext uri="{FF2B5EF4-FFF2-40B4-BE49-F238E27FC236}">
                <a16:creationId xmlns:a16="http://schemas.microsoft.com/office/drawing/2014/main" id="{2F4702D9-64DA-B647-A391-FB41EA20B765}"/>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8" name="Slide Number Placeholder 5">
            <a:extLst>
              <a:ext uri="{FF2B5EF4-FFF2-40B4-BE49-F238E27FC236}">
                <a16:creationId xmlns:a16="http://schemas.microsoft.com/office/drawing/2014/main" id="{97C341EC-99A2-C844-AF5E-DBF8C799A235}"/>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2693813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46D1BA2-B4CA-B34E-803C-9B9DB37E52BE}"/>
              </a:ext>
            </a:extLst>
          </p:cNvPr>
          <p:cNvSpPr>
            <a:spLocks noGrp="1"/>
          </p:cNvSpPr>
          <p:nvPr>
            <p:ph type="pic" idx="1"/>
          </p:nvPr>
        </p:nvSpPr>
        <p:spPr>
          <a:xfrm>
            <a:off x="5183188" y="1"/>
            <a:ext cx="7008812" cy="551835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8" name="Title 1">
            <a:extLst>
              <a:ext uri="{FF2B5EF4-FFF2-40B4-BE49-F238E27FC236}">
                <a16:creationId xmlns:a16="http://schemas.microsoft.com/office/drawing/2014/main" id="{C6DF3456-3DAD-CA47-B927-08A74F6E9322}"/>
              </a:ext>
            </a:extLst>
          </p:cNvPr>
          <p:cNvSpPr>
            <a:spLocks noGrp="1"/>
          </p:cNvSpPr>
          <p:nvPr>
            <p:ph type="title"/>
          </p:nvPr>
        </p:nvSpPr>
        <p:spPr>
          <a:xfrm>
            <a:off x="839788" y="914400"/>
            <a:ext cx="3932237" cy="1228954"/>
          </a:xfrm>
        </p:spPr>
        <p:txBody>
          <a:bodyPr anchor="b"/>
          <a:lstStyle>
            <a:lvl1pPr>
              <a:defRPr sz="3200"/>
            </a:lvl1pPr>
          </a:lstStyle>
          <a:p>
            <a:r>
              <a:rPr lang="en-US"/>
              <a:t>Click to edit Master title style</a:t>
            </a:r>
            <a:endParaRPr lang="en-US" dirty="0"/>
          </a:p>
        </p:txBody>
      </p:sp>
      <p:sp>
        <p:nvSpPr>
          <p:cNvPr id="9" name="Text Placeholder 3">
            <a:extLst>
              <a:ext uri="{FF2B5EF4-FFF2-40B4-BE49-F238E27FC236}">
                <a16:creationId xmlns:a16="http://schemas.microsoft.com/office/drawing/2014/main" id="{D6884067-1F55-174B-A844-FC2C0D0A83A2}"/>
              </a:ext>
            </a:extLst>
          </p:cNvPr>
          <p:cNvSpPr>
            <a:spLocks noGrp="1"/>
          </p:cNvSpPr>
          <p:nvPr>
            <p:ph type="body" sz="half" idx="2"/>
          </p:nvPr>
        </p:nvSpPr>
        <p:spPr>
          <a:xfrm>
            <a:off x="839788" y="2334260"/>
            <a:ext cx="3932237" cy="3184092"/>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7" name="Date Placeholder 3">
            <a:extLst>
              <a:ext uri="{FF2B5EF4-FFF2-40B4-BE49-F238E27FC236}">
                <a16:creationId xmlns:a16="http://schemas.microsoft.com/office/drawing/2014/main" id="{9B57C2CB-D6FD-3E4A-B6DF-0B0380C10D24}"/>
              </a:ext>
            </a:extLst>
          </p:cNvPr>
          <p:cNvSpPr>
            <a:spLocks noGrp="1"/>
          </p:cNvSpPr>
          <p:nvPr>
            <p:ph type="dt" sz="half" idx="10"/>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18" name="Slide Number Placeholder 5">
            <a:extLst>
              <a:ext uri="{FF2B5EF4-FFF2-40B4-BE49-F238E27FC236}">
                <a16:creationId xmlns:a16="http://schemas.microsoft.com/office/drawing/2014/main" id="{BD324947-C9F2-5F4F-881E-981F72B1D5DB}"/>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908665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3_Section Header">
    <p:bg>
      <p:bgPr>
        <a:solidFill>
          <a:schemeClr val="bg1">
            <a:alpha val="7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4BA6973-DE62-B448-9040-E9518A8F782F}"/>
              </a:ext>
            </a:extLst>
          </p:cNvPr>
          <p:cNvSpPr/>
          <p:nvPr userDrawn="1"/>
        </p:nvSpPr>
        <p:spPr>
          <a:xfrm>
            <a:off x="0" y="0"/>
            <a:ext cx="12192000" cy="5705856"/>
          </a:xfrm>
          <a:prstGeom prst="rect">
            <a:avLst/>
          </a:prstGeom>
          <a:solidFill>
            <a:srgbClr val="F0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C1BE9F53-389D-1F4A-B63B-9A0F6EC480D5}"/>
              </a:ext>
            </a:extLst>
          </p:cNvPr>
          <p:cNvSpPr>
            <a:spLocks noGrp="1"/>
          </p:cNvSpPr>
          <p:nvPr>
            <p:ph type="body" idx="1"/>
          </p:nvPr>
        </p:nvSpPr>
        <p:spPr>
          <a:xfrm>
            <a:off x="3436620" y="2880361"/>
            <a:ext cx="7910830" cy="2157983"/>
          </a:xfrm>
          <a:prstGeom prst="rect">
            <a:avLst/>
          </a:prstGeom>
        </p:spPr>
        <p:txBody>
          <a:bodyPr/>
          <a:lstStyle>
            <a:lvl1pPr marL="0" indent="0">
              <a:buNone/>
              <a:defRPr sz="2400">
                <a:solidFill>
                  <a:srgbClr val="00336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a:extLst>
              <a:ext uri="{FF2B5EF4-FFF2-40B4-BE49-F238E27FC236}">
                <a16:creationId xmlns:a16="http://schemas.microsoft.com/office/drawing/2014/main" id="{6B580F54-3052-6249-9FEB-B16581AE1CE2}"/>
              </a:ext>
            </a:extLst>
          </p:cNvPr>
          <p:cNvPicPr>
            <a:picLocks noChangeAspect="1"/>
          </p:cNvPicPr>
          <p:nvPr userDrawn="1"/>
        </p:nvPicPr>
        <p:blipFill>
          <a:blip r:embed="rId2"/>
          <a:srcRect/>
          <a:stretch/>
        </p:blipFill>
        <p:spPr>
          <a:xfrm>
            <a:off x="942590" y="1863711"/>
            <a:ext cx="1819656" cy="1819656"/>
          </a:xfrm>
          <a:prstGeom prst="rect">
            <a:avLst/>
          </a:prstGeom>
          <a:noFill/>
          <a:ln>
            <a:noFill/>
          </a:ln>
          <a:effectLst/>
        </p:spPr>
      </p:pic>
      <p:sp>
        <p:nvSpPr>
          <p:cNvPr id="2" name="Title 1">
            <a:extLst>
              <a:ext uri="{FF2B5EF4-FFF2-40B4-BE49-F238E27FC236}">
                <a16:creationId xmlns:a16="http://schemas.microsoft.com/office/drawing/2014/main" id="{ECD943DB-4E09-7348-B00D-9B36266379B1}"/>
              </a:ext>
            </a:extLst>
          </p:cNvPr>
          <p:cNvSpPr>
            <a:spLocks noGrp="1"/>
          </p:cNvSpPr>
          <p:nvPr>
            <p:ph type="title"/>
          </p:nvPr>
        </p:nvSpPr>
        <p:spPr>
          <a:xfrm>
            <a:off x="3436620" y="917259"/>
            <a:ext cx="7910830" cy="1871662"/>
          </a:xfrm>
        </p:spPr>
        <p:txBody>
          <a:bodyPr anchor="t">
            <a:normAutofit/>
          </a:bodyPr>
          <a:lstStyle>
            <a:lvl1pPr>
              <a:defRPr sz="4800">
                <a:solidFill>
                  <a:srgbClr val="3D8EC1"/>
                </a:solidFill>
              </a:defRPr>
            </a:lvl1pPr>
          </a:lstStyle>
          <a:p>
            <a:r>
              <a:rPr lang="en-US"/>
              <a:t>Click to edit Master title style</a:t>
            </a:r>
            <a:endParaRPr lang="en-US" dirty="0"/>
          </a:p>
        </p:txBody>
      </p:sp>
      <p:sp>
        <p:nvSpPr>
          <p:cNvPr id="12" name="Date Placeholder 3">
            <a:extLst>
              <a:ext uri="{FF2B5EF4-FFF2-40B4-BE49-F238E27FC236}">
                <a16:creationId xmlns:a16="http://schemas.microsoft.com/office/drawing/2014/main" id="{532D5931-4BF9-2F4E-B957-5B8843AA5E87}"/>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13" name="Slide Number Placeholder 5">
            <a:extLst>
              <a:ext uri="{FF2B5EF4-FFF2-40B4-BE49-F238E27FC236}">
                <a16:creationId xmlns:a16="http://schemas.microsoft.com/office/drawing/2014/main" id="{98EC0B1D-32B8-D646-A504-DF3F3474456D}"/>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31037865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7D54C5B0-51DE-4740-94CE-E94C0DA0B02B}"/>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6" name="Slide Number Placeholder 5">
            <a:extLst>
              <a:ext uri="{FF2B5EF4-FFF2-40B4-BE49-F238E27FC236}">
                <a16:creationId xmlns:a16="http://schemas.microsoft.com/office/drawing/2014/main" id="{CC442FB6-4459-1E49-8F60-50650ECC0311}"/>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
        <p:nvSpPr>
          <p:cNvPr id="8" name="Title 6">
            <a:extLst>
              <a:ext uri="{FF2B5EF4-FFF2-40B4-BE49-F238E27FC236}">
                <a16:creationId xmlns:a16="http://schemas.microsoft.com/office/drawing/2014/main" id="{7D67E8CD-106D-6B45-8057-FA0D3C1BAB20}"/>
              </a:ext>
            </a:extLst>
          </p:cNvPr>
          <p:cNvSpPr>
            <a:spLocks noGrp="1"/>
          </p:cNvSpPr>
          <p:nvPr>
            <p:ph type="title"/>
          </p:nvPr>
        </p:nvSpPr>
        <p:spPr>
          <a:xfrm>
            <a:off x="838200" y="2190146"/>
            <a:ext cx="10515600" cy="1325563"/>
          </a:xfrm>
        </p:spPr>
        <p:txBody>
          <a:bodyPr/>
          <a:lstStyle>
            <a:lvl1pPr>
              <a:defRPr>
                <a:solidFill>
                  <a:srgbClr val="3D8EC1"/>
                </a:solidFill>
              </a:defRPr>
            </a:lvl1pPr>
          </a:lstStyle>
          <a:p>
            <a:r>
              <a:rPr lang="en-US"/>
              <a:t>Click to edit Master title style</a:t>
            </a:r>
            <a:endParaRPr lang="en-US" dirty="0"/>
          </a:p>
        </p:txBody>
      </p:sp>
    </p:spTree>
    <p:extLst>
      <p:ext uri="{BB962C8B-B14F-4D97-AF65-F5344CB8AC3E}">
        <p14:creationId xmlns:p14="http://schemas.microsoft.com/office/powerpoint/2010/main" val="1405474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Header">
    <p:bg>
      <p:bgPr>
        <a:solidFill>
          <a:schemeClr val="bg1">
            <a:alpha val="7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6BE015B-66BD-8A4F-90CD-714F920F3BE7}"/>
              </a:ext>
            </a:extLst>
          </p:cNvPr>
          <p:cNvSpPr/>
          <p:nvPr userDrawn="1"/>
        </p:nvSpPr>
        <p:spPr>
          <a:xfrm>
            <a:off x="0" y="0"/>
            <a:ext cx="12192000" cy="5705856"/>
          </a:xfrm>
          <a:prstGeom prst="rect">
            <a:avLst/>
          </a:prstGeom>
          <a:solidFill>
            <a:srgbClr val="F0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6">
            <a:extLst>
              <a:ext uri="{FF2B5EF4-FFF2-40B4-BE49-F238E27FC236}">
                <a16:creationId xmlns:a16="http://schemas.microsoft.com/office/drawing/2014/main" id="{3E86A95A-3EAD-8644-8EC7-190C7C8BE405}"/>
              </a:ext>
            </a:extLst>
          </p:cNvPr>
          <p:cNvSpPr>
            <a:spLocks noGrp="1"/>
          </p:cNvSpPr>
          <p:nvPr>
            <p:ph type="title"/>
          </p:nvPr>
        </p:nvSpPr>
        <p:spPr>
          <a:xfrm>
            <a:off x="838200" y="2190146"/>
            <a:ext cx="10515600" cy="1325563"/>
          </a:xfrm>
        </p:spPr>
        <p:txBody>
          <a:bodyPr/>
          <a:lstStyle>
            <a:lvl1pPr>
              <a:defRPr>
                <a:solidFill>
                  <a:srgbClr val="3D8EC1"/>
                </a:solidFill>
              </a:defRPr>
            </a:lvl1pPr>
          </a:lstStyle>
          <a:p>
            <a:r>
              <a:rPr lang="en-US"/>
              <a:t>Click to edit Master title style</a:t>
            </a:r>
            <a:endParaRPr lang="en-US" dirty="0"/>
          </a:p>
        </p:txBody>
      </p:sp>
      <p:sp>
        <p:nvSpPr>
          <p:cNvPr id="8" name="Date Placeholder 3">
            <a:extLst>
              <a:ext uri="{FF2B5EF4-FFF2-40B4-BE49-F238E27FC236}">
                <a16:creationId xmlns:a16="http://schemas.microsoft.com/office/drawing/2014/main" id="{DC7B4D8B-228A-5947-8A53-7B4B250423AE}"/>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9" name="Slide Number Placeholder 5">
            <a:extLst>
              <a:ext uri="{FF2B5EF4-FFF2-40B4-BE49-F238E27FC236}">
                <a16:creationId xmlns:a16="http://schemas.microsoft.com/office/drawing/2014/main" id="{A7E4CB8B-638C-C441-9C3E-5E128F33B0F3}"/>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17056601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Section Header">
    <p:bg>
      <p:bgPr>
        <a:solidFill>
          <a:schemeClr val="bg1">
            <a:alpha val="75000"/>
          </a:schemeClr>
        </a:solidFill>
        <a:effectLst/>
      </p:bgPr>
    </p:bg>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7B35BA6C-69BB-3545-ADFB-6D20806B40B6}"/>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9" name="Slide Number Placeholder 5">
            <a:extLst>
              <a:ext uri="{FF2B5EF4-FFF2-40B4-BE49-F238E27FC236}">
                <a16:creationId xmlns:a16="http://schemas.microsoft.com/office/drawing/2014/main" id="{63DC7219-C6B5-B242-87C8-919FEE11B27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
        <p:nvSpPr>
          <p:cNvPr id="10" name="Rectangle 9">
            <a:extLst>
              <a:ext uri="{FF2B5EF4-FFF2-40B4-BE49-F238E27FC236}">
                <a16:creationId xmlns:a16="http://schemas.microsoft.com/office/drawing/2014/main" id="{A9FA19B5-15C8-7B43-AD1C-B4BBB5CF0F65}"/>
              </a:ext>
            </a:extLst>
          </p:cNvPr>
          <p:cNvSpPr/>
          <p:nvPr userDrawn="1"/>
        </p:nvSpPr>
        <p:spPr>
          <a:xfrm>
            <a:off x="0" y="0"/>
            <a:ext cx="12192000" cy="5705856"/>
          </a:xfrm>
          <a:prstGeom prst="rect">
            <a:avLst/>
          </a:prstGeom>
          <a:solidFill>
            <a:srgbClr val="F0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9804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Header">
    <p:bg>
      <p:bgPr>
        <a:solidFill>
          <a:schemeClr val="bg1">
            <a:alpha val="75000"/>
          </a:schemeClr>
        </a:solidFill>
        <a:effectLst/>
      </p:bgPr>
    </p:bg>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7B35BA6C-69BB-3545-ADFB-6D20806B40B6}"/>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9" name="Slide Number Placeholder 5">
            <a:extLst>
              <a:ext uri="{FF2B5EF4-FFF2-40B4-BE49-F238E27FC236}">
                <a16:creationId xmlns:a16="http://schemas.microsoft.com/office/drawing/2014/main" id="{63DC7219-C6B5-B242-87C8-919FEE11B27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Tree>
    <p:extLst>
      <p:ext uri="{BB962C8B-B14F-4D97-AF65-F5344CB8AC3E}">
        <p14:creationId xmlns:p14="http://schemas.microsoft.com/office/powerpoint/2010/main" val="289528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Section Header">
    <p:bg>
      <p:bgPr>
        <a:solidFill>
          <a:schemeClr val="bg1">
            <a:alpha val="50000"/>
          </a:schemeClr>
        </a:solidFill>
        <a:effectLst/>
      </p:bgPr>
    </p:bg>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7B35BA6C-69BB-3545-ADFB-6D20806B40B6}"/>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dirty="0"/>
          </a:p>
        </p:txBody>
      </p:sp>
      <p:sp>
        <p:nvSpPr>
          <p:cNvPr id="9" name="Slide Number Placeholder 5">
            <a:extLst>
              <a:ext uri="{FF2B5EF4-FFF2-40B4-BE49-F238E27FC236}">
                <a16:creationId xmlns:a16="http://schemas.microsoft.com/office/drawing/2014/main" id="{63DC7219-C6B5-B242-87C8-919FEE11B27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sp>
        <p:nvSpPr>
          <p:cNvPr id="4" name="Rectangle 3">
            <a:extLst>
              <a:ext uri="{FF2B5EF4-FFF2-40B4-BE49-F238E27FC236}">
                <a16:creationId xmlns:a16="http://schemas.microsoft.com/office/drawing/2014/main" id="{CE58911B-D4BE-4F4B-8089-2BE7914F5B4E}"/>
              </a:ext>
            </a:extLst>
          </p:cNvPr>
          <p:cNvSpPr/>
          <p:nvPr userDrawn="1"/>
        </p:nvSpPr>
        <p:spPr>
          <a:xfrm>
            <a:off x="0" y="0"/>
            <a:ext cx="12192000" cy="5705856"/>
          </a:xfrm>
          <a:prstGeom prst="rect">
            <a:avLst/>
          </a:prstGeom>
          <a:solidFill>
            <a:srgbClr val="0088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845771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spTree>
      <p:nvGrpSpPr>
        <p:cNvPr id="1" name=""/>
        <p:cNvGrpSpPr/>
        <p:nvPr/>
      </p:nvGrpSpPr>
      <p:grpSpPr>
        <a:xfrm>
          <a:off x="0" y="0"/>
          <a:ext cx="0" cy="0"/>
          <a:chOff x="0" y="0"/>
          <a:chExt cx="0" cy="0"/>
        </a:xfrm>
      </p:grpSpPr>
      <p:sp>
        <p:nvSpPr>
          <p:cNvPr id="10" name="Rectangle 5"/>
          <p:cNvSpPr>
            <a:spLocks noChangeArrowheads="1"/>
          </p:cNvSpPr>
          <p:nvPr/>
        </p:nvSpPr>
        <p:spPr bwMode="white">
          <a:xfrm>
            <a:off x="6540503" y="0"/>
            <a:ext cx="5651496" cy="6858000"/>
          </a:xfrm>
          <a:custGeom>
            <a:avLst/>
            <a:gdLst/>
            <a:ahLst/>
            <a:cxnLst/>
            <a:rect l="l" t="t" r="r" b="b"/>
            <a:pathLst>
              <a:path w="4238622" h="6858000">
                <a:moveTo>
                  <a:pt x="0" y="0"/>
                </a:moveTo>
                <a:lnTo>
                  <a:pt x="4086222" y="0"/>
                </a:lnTo>
                <a:lnTo>
                  <a:pt x="4237035" y="0"/>
                </a:lnTo>
                <a:lnTo>
                  <a:pt x="4238622" y="0"/>
                </a:lnTo>
                <a:lnTo>
                  <a:pt x="4238622" y="6858000"/>
                </a:lnTo>
                <a:lnTo>
                  <a:pt x="4237035" y="6858000"/>
                </a:lnTo>
                <a:lnTo>
                  <a:pt x="4086222" y="6858000"/>
                </a:lnTo>
                <a:lnTo>
                  <a:pt x="254000" y="6858000"/>
                </a:lnTo>
                <a:lnTo>
                  <a:pt x="892175" y="43370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11" name="Freeform 6"/>
          <p:cNvSpPr>
            <a:spLocks/>
          </p:cNvSpPr>
          <p:nvPr/>
        </p:nvSpPr>
        <p:spPr bwMode="auto">
          <a:xfrm>
            <a:off x="6256868"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innerShdw blurRad="635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dirty="0"/>
          </a:p>
        </p:txBody>
      </p:sp>
      <p:sp>
        <p:nvSpPr>
          <p:cNvPr id="12" name="Freeform 7"/>
          <p:cNvSpPr>
            <a:spLocks/>
          </p:cNvSpPr>
          <p:nvPr/>
        </p:nvSpPr>
        <p:spPr bwMode="auto">
          <a:xfrm>
            <a:off x="6062136" y="0"/>
            <a:ext cx="1528232" cy="6858000"/>
          </a:xfrm>
          <a:custGeom>
            <a:avLst/>
            <a:gdLst/>
            <a:ahLst/>
            <a:cxnLst/>
            <a:rect l="l" t="t" r="r" b="b"/>
            <a:pathLst>
              <a:path w="1146174" h="6858000">
                <a:moveTo>
                  <a:pt x="0" y="0"/>
                </a:moveTo>
                <a:lnTo>
                  <a:pt x="253999" y="0"/>
                </a:lnTo>
                <a:lnTo>
                  <a:pt x="1146174" y="4337050"/>
                </a:lnTo>
                <a:lnTo>
                  <a:pt x="511174" y="6858000"/>
                </a:lnTo>
                <a:lnTo>
                  <a:pt x="254000" y="6858000"/>
                </a:lnTo>
                <a:lnTo>
                  <a:pt x="892175" y="4337050"/>
                </a:lnTo>
                <a:close/>
              </a:path>
            </a:pathLst>
          </a:custGeom>
          <a:solidFill>
            <a:schemeClr val="accent1"/>
          </a:solidFill>
          <a:ln>
            <a:noFill/>
          </a:ln>
          <a:effectLst>
            <a:innerShdw blurRad="1778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dirty="0"/>
          </a:p>
        </p:txBody>
      </p:sp>
      <p:sp>
        <p:nvSpPr>
          <p:cNvPr id="2" name="Title 1"/>
          <p:cNvSpPr>
            <a:spLocks noGrp="1"/>
          </p:cNvSpPr>
          <p:nvPr>
            <p:ph type="ctrTitle"/>
          </p:nvPr>
        </p:nvSpPr>
        <p:spPr>
          <a:xfrm>
            <a:off x="1284394" y="2148840"/>
            <a:ext cx="5120640" cy="2560320"/>
          </a:xfrm>
        </p:spPr>
        <p:txBody>
          <a:bodyPr anchor="b">
            <a:normAutofit/>
          </a:bodyPr>
          <a:lstStyle>
            <a:lvl1pPr algn="l">
              <a:defRPr sz="4000">
                <a:solidFill>
                  <a:schemeClr val="tx1"/>
                </a:solidFill>
                <a:latin typeface="Tw Cen MT Condensed Extra Bold" panose="020B0803020202020204" pitchFamily="34" charset="0"/>
              </a:defRPr>
            </a:lvl1pPr>
          </a:lstStyle>
          <a:p>
            <a:r>
              <a:rPr lang="en-US" dirty="0"/>
              <a:t>Click to edit Master title style</a:t>
            </a:r>
          </a:p>
        </p:txBody>
      </p:sp>
      <p:sp>
        <p:nvSpPr>
          <p:cNvPr id="15" name="Picture Placeholder 14"/>
          <p:cNvSpPr>
            <a:spLocks noGrp="1"/>
          </p:cNvSpPr>
          <p:nvPr>
            <p:ph type="pic" sz="quarter" idx="10"/>
          </p:nvPr>
        </p:nvSpPr>
        <p:spPr>
          <a:xfrm>
            <a:off x="6743703" y="0"/>
            <a:ext cx="5448297" cy="6858000"/>
          </a:xfrm>
          <a:custGeom>
            <a:avLst/>
            <a:gdLst>
              <a:gd name="connsiteX0" fmla="*/ 0 w 5448297"/>
              <a:gd name="connsiteY0" fmla="*/ 0 h 6858000"/>
              <a:gd name="connsiteX1" fmla="*/ 5448297 w 5448297"/>
              <a:gd name="connsiteY1" fmla="*/ 0 h 6858000"/>
              <a:gd name="connsiteX2" fmla="*/ 5448297 w 5448297"/>
              <a:gd name="connsiteY2" fmla="*/ 6858000 h 6858000"/>
              <a:gd name="connsiteX3" fmla="*/ 338667 w 5448297"/>
              <a:gd name="connsiteY3" fmla="*/ 6858000 h 6858000"/>
              <a:gd name="connsiteX4" fmla="*/ 1185333 w 5448297"/>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297" h="6858000">
                <a:moveTo>
                  <a:pt x="0" y="0"/>
                </a:moveTo>
                <a:lnTo>
                  <a:pt x="5448297" y="0"/>
                </a:lnTo>
                <a:lnTo>
                  <a:pt x="5448297" y="6858000"/>
                </a:lnTo>
                <a:lnTo>
                  <a:pt x="338667" y="6858000"/>
                </a:lnTo>
                <a:lnTo>
                  <a:pt x="1185333" y="4337050"/>
                </a:lnTo>
                <a:close/>
              </a:path>
            </a:pathLst>
          </a:custGeom>
          <a:noFill/>
          <a:ln>
            <a:noFill/>
          </a:ln>
        </p:spPr>
        <p:txBody>
          <a:bodyPr wrap="square" tIns="365760">
            <a:noAutofit/>
          </a:bodyPr>
          <a:lstStyle>
            <a:lvl1pPr marL="0" indent="0" algn="ctr">
              <a:buNone/>
              <a:defRPr sz="2800">
                <a:solidFill>
                  <a:schemeClr val="bg1"/>
                </a:solidFill>
              </a:defRPr>
            </a:lvl1pPr>
          </a:lstStyle>
          <a:p>
            <a:endParaRPr lang="en-US" dirty="0"/>
          </a:p>
        </p:txBody>
      </p:sp>
    </p:spTree>
    <p:extLst>
      <p:ext uri="{BB962C8B-B14F-4D97-AF65-F5344CB8AC3E}">
        <p14:creationId xmlns:p14="http://schemas.microsoft.com/office/powerpoint/2010/main" val="397785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5"/>
          <p:cNvSpPr>
            <a:spLocks noChangeArrowheads="1"/>
          </p:cNvSpPr>
          <p:nvPr/>
        </p:nvSpPr>
        <p:spPr bwMode="white">
          <a:xfrm>
            <a:off x="9622368" y="0"/>
            <a:ext cx="2569632" cy="6858000"/>
          </a:xfrm>
          <a:custGeom>
            <a:avLst/>
            <a:gdLst/>
            <a:ahLst/>
            <a:cxnLst/>
            <a:rect l="l" t="t" r="r" b="b"/>
            <a:pathLst>
              <a:path w="1927224" h="6858000">
                <a:moveTo>
                  <a:pt x="0" y="0"/>
                </a:moveTo>
                <a:lnTo>
                  <a:pt x="1927224" y="0"/>
                </a:lnTo>
                <a:lnTo>
                  <a:pt x="1927224" y="6858000"/>
                </a:lnTo>
                <a:lnTo>
                  <a:pt x="254000" y="6858000"/>
                </a:lnTo>
                <a:lnTo>
                  <a:pt x="892175" y="43370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8" name="Freeform 6"/>
          <p:cNvSpPr>
            <a:spLocks/>
          </p:cNvSpPr>
          <p:nvPr/>
        </p:nvSpPr>
        <p:spPr bwMode="auto">
          <a:xfrm>
            <a:off x="9237132"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outerShdw blurRad="101600" dist="50800" algn="l" rotWithShape="0">
              <a:prstClr val="black">
                <a:alpha val="25000"/>
              </a:prstClr>
            </a:outerShdw>
          </a:effectLst>
        </p:spPr>
        <p:txBody>
          <a:bodyPr vert="horz" wrap="square" lIns="91440" tIns="45720" rIns="91440" bIns="45720" numCol="1" anchor="t" anchorCtr="0" compatLnSpc="1">
            <a:prstTxWarp prst="textNoShape">
              <a:avLst/>
            </a:prstTxWarp>
          </a:bodyPr>
          <a:lstStyle/>
          <a:p>
            <a:pPr lvl="0"/>
            <a:endParaRPr lang="en-US" sz="1800" dirty="0"/>
          </a:p>
        </p:txBody>
      </p:sp>
      <p:sp>
        <p:nvSpPr>
          <p:cNvPr id="9" name="Freeform 7"/>
          <p:cNvSpPr>
            <a:spLocks/>
          </p:cNvSpPr>
          <p:nvPr/>
        </p:nvSpPr>
        <p:spPr bwMode="auto">
          <a:xfrm>
            <a:off x="9173633" y="0"/>
            <a:ext cx="1460499" cy="6858000"/>
          </a:xfrm>
          <a:custGeom>
            <a:avLst/>
            <a:gdLst/>
            <a:ahLst/>
            <a:cxnLst/>
            <a:rect l="l" t="t" r="r" b="b"/>
            <a:pathLst>
              <a:path w="1095374" h="685800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outerShdw blurRad="101600" dist="50800" algn="l" rotWithShape="0">
              <a:prstClr val="black">
                <a:alpha val="25000"/>
              </a:prstClr>
            </a:outerShdw>
          </a:effectLst>
        </p:spPr>
        <p:txBody>
          <a:bodyPr vert="horz" wrap="square" lIns="91440" tIns="45720" rIns="91440" bIns="45720" numCol="1" anchor="t" anchorCtr="0" compatLnSpc="1">
            <a:prstTxWarp prst="textNoShape">
              <a:avLst/>
            </a:prstTxWarp>
          </a:bodyPr>
          <a:lstStyle/>
          <a:p>
            <a:pPr lvl="0"/>
            <a:endParaRPr lang="en-US" sz="1800" dirty="0"/>
          </a:p>
        </p:txBody>
      </p:sp>
      <p:sp>
        <p:nvSpPr>
          <p:cNvPr id="10" name="Freeform 7"/>
          <p:cNvSpPr>
            <a:spLocks/>
          </p:cNvSpPr>
          <p:nvPr/>
        </p:nvSpPr>
        <p:spPr bwMode="auto">
          <a:xfrm>
            <a:off x="9173633" y="0"/>
            <a:ext cx="1460499" cy="6858000"/>
          </a:xfrm>
          <a:custGeom>
            <a:avLst/>
            <a:gdLst/>
            <a:ahLst/>
            <a:cxnLst/>
            <a:rect l="l" t="t" r="r" b="b"/>
            <a:pathLst>
              <a:path w="1095374" h="685800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innerShdw blurRad="635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dirty="0"/>
          </a:p>
        </p:txBody>
      </p:sp>
      <p:sp>
        <p:nvSpPr>
          <p:cNvPr id="2" name="Title 1"/>
          <p:cNvSpPr>
            <a:spLocks noGrp="1"/>
          </p:cNvSpPr>
          <p:nvPr>
            <p:ph type="title"/>
          </p:nvPr>
        </p:nvSpPr>
        <p:spPr>
          <a:xfrm>
            <a:off x="1295398" y="2914650"/>
            <a:ext cx="8046720" cy="1557338"/>
          </a:xfrm>
        </p:spPr>
        <p:txBody>
          <a:bodyPr anchor="b">
            <a:normAutofit/>
          </a:bodyPr>
          <a:lstStyle>
            <a:lvl1pPr>
              <a:defRPr sz="3200">
                <a:solidFill>
                  <a:schemeClr val="tx1"/>
                </a:solidFill>
                <a:latin typeface="Tw Cen MT Condensed Extra Bold" panose="020B0803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1295398" y="4589463"/>
            <a:ext cx="8046718" cy="1011237"/>
          </a:xfrm>
        </p:spPr>
        <p:txBody>
          <a:bodyPr/>
          <a:lstStyle>
            <a:lvl1pPr marL="0" indent="0">
              <a:spcBef>
                <a:spcPts val="1200"/>
              </a:spcBef>
              <a:buNone/>
              <a:defRPr sz="2400">
                <a:solidFill>
                  <a:schemeClr val="tx1"/>
                </a:solidFill>
                <a:latin typeface="Cambria" panose="02040503050406030204" pitchFamily="18"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682024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a:t>Click to edit Master title style</a:t>
            </a:r>
          </a:p>
        </p:txBody>
      </p:sp>
      <p:sp>
        <p:nvSpPr>
          <p:cNvPr id="3" name="Content Placeholder 2"/>
          <p:cNvSpPr>
            <a:spLocks noGrp="1"/>
          </p:cNvSpPr>
          <p:nvPr>
            <p:ph sz="half" idx="1"/>
          </p:nvPr>
        </p:nvSpPr>
        <p:spPr/>
        <p:txBody>
          <a:bodyPr/>
          <a:lstStyle>
            <a:lvl1pPr>
              <a:defRPr>
                <a:latin typeface="Cambria" panose="02040503050406030204" pitchFamily="18" charset="0"/>
              </a:defRPr>
            </a:lvl1pPr>
            <a:lvl2pPr>
              <a:defRPr>
                <a:latin typeface="Cambria" panose="02040503050406030204" pitchFamily="18" charset="0"/>
              </a:defRPr>
            </a:lvl2pPr>
            <a:lvl3pPr>
              <a:defRPr>
                <a:latin typeface="Cambria" panose="02040503050406030204" pitchFamily="18" charset="0"/>
              </a:defRPr>
            </a:lvl3pPr>
            <a:lvl4pPr>
              <a:defRPr>
                <a:latin typeface="Cambria" panose="02040503050406030204" pitchFamily="18" charset="0"/>
              </a:defRPr>
            </a:lvl4pPr>
            <a:lvl5pPr>
              <a:defRPr>
                <a:latin typeface="Cambria" panose="020405030504060302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24600" y="1828799"/>
            <a:ext cx="4572000" cy="4343401"/>
          </a:xfrm>
        </p:spPr>
        <p:txBody>
          <a:bodyPr/>
          <a:lstStyle>
            <a:lvl1pPr>
              <a:defRPr>
                <a:latin typeface="Cambria" panose="02040503050406030204" pitchFamily="18" charset="0"/>
              </a:defRPr>
            </a:lvl1pPr>
            <a:lvl2pPr>
              <a:defRPr>
                <a:latin typeface="Cambria" panose="02040503050406030204" pitchFamily="18" charset="0"/>
              </a:defRPr>
            </a:lvl2pPr>
            <a:lvl3pPr>
              <a:defRPr>
                <a:latin typeface="Cambria" panose="02040503050406030204" pitchFamily="18" charset="0"/>
              </a:defRPr>
            </a:lvl3pPr>
            <a:lvl4pPr>
              <a:defRPr>
                <a:latin typeface="Cambria" panose="02040503050406030204" pitchFamily="18" charset="0"/>
              </a:defRPr>
            </a:lvl4pPr>
            <a:lvl5pPr>
              <a:defRPr>
                <a:latin typeface="Cambria" panose="02040503050406030204"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3494939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95400" y="255134"/>
            <a:ext cx="9601200" cy="1036850"/>
          </a:xfrm>
        </p:spPr>
        <p:txBody>
          <a:bodyPr/>
          <a:lstStyle/>
          <a:p>
            <a:r>
              <a:rPr lang="en-US" dirty="0"/>
              <a:t>Click to edit Master title style</a:t>
            </a:r>
          </a:p>
        </p:txBody>
      </p:sp>
      <p:sp>
        <p:nvSpPr>
          <p:cNvPr id="3" name="Text Placeholder 2"/>
          <p:cNvSpPr>
            <a:spLocks noGrp="1"/>
          </p:cNvSpPr>
          <p:nvPr>
            <p:ph type="body" idx="1"/>
          </p:nvPr>
        </p:nvSpPr>
        <p:spPr>
          <a:xfrm>
            <a:off x="1295400" y="1828800"/>
            <a:ext cx="4572000" cy="850392"/>
          </a:xfrm>
        </p:spPr>
        <p:txBody>
          <a:bodyPr anchor="ctr">
            <a:normAutofit/>
          </a:bodyPr>
          <a:lstStyle>
            <a:lvl1pPr marL="0" indent="0">
              <a:buNone/>
              <a:defRPr sz="2600" b="0">
                <a:latin typeface="Tw Cen MT Condensed Extra Bold" panose="020B0803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1295400" y="2705100"/>
            <a:ext cx="4572000" cy="3467100"/>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324600" y="1828800"/>
            <a:ext cx="4572000" cy="847725"/>
          </a:xfrm>
        </p:spPr>
        <p:txBody>
          <a:bodyPr anchor="ctr">
            <a:normAutofit/>
          </a:bodyPr>
          <a:lstStyle>
            <a:lvl1pPr marL="0" indent="0">
              <a:buNone/>
              <a:defRPr sz="2600" b="0">
                <a:latin typeface="Tw Cen MT Condensed Extra Bold" panose="020B0803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24600" y="2705100"/>
            <a:ext cx="4572000" cy="34671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2761969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dirty="0"/>
              <a:t>Click to edit Master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2935559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634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ormAutofit/>
          </a:bodyPr>
          <a:lstStyle>
            <a:lvl1pPr>
              <a:defRPr sz="2800"/>
            </a:lvl1pPr>
          </a:lstStyle>
          <a:p>
            <a:r>
              <a:rPr lang="en-US" dirty="0"/>
              <a:t>Click to edit Master title style</a:t>
            </a:r>
          </a:p>
        </p:txBody>
      </p:sp>
      <p:sp>
        <p:nvSpPr>
          <p:cNvPr id="3" name="Content Placeholder 2"/>
          <p:cNvSpPr>
            <a:spLocks noGrp="1"/>
          </p:cNvSpPr>
          <p:nvPr>
            <p:ph idx="1"/>
          </p:nvPr>
        </p:nvSpPr>
        <p:spPr>
          <a:xfrm>
            <a:off x="4728209" y="1828800"/>
            <a:ext cx="6126480" cy="4343400"/>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1295400" y="1828800"/>
            <a:ext cx="3017520" cy="4343400"/>
          </a:xfrm>
        </p:spPr>
        <p:txBody>
          <a:bodyPr anchor="ctr">
            <a:normAutofit/>
          </a:bodyPr>
          <a:lstStyle>
            <a:lvl1pPr marL="0" indent="0">
              <a:spcBef>
                <a:spcPts val="1200"/>
              </a:spcBef>
              <a:buNone/>
              <a:defRPr sz="20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a:xfrm>
            <a:off x="7791449" y="6374999"/>
            <a:ext cx="1480705" cy="274320"/>
          </a:xfrm>
          <a:prstGeom prst="rect">
            <a:avLst/>
          </a:prstGeom>
        </p:spPr>
        <p:txBody>
          <a:bodyPr/>
          <a:lstStyle/>
          <a:p>
            <a:endParaRPr lang="en-US" dirty="0"/>
          </a:p>
        </p:txBody>
      </p:sp>
      <p:sp>
        <p:nvSpPr>
          <p:cNvPr id="6" name="Footer Placeholder 5"/>
          <p:cNvSpPr>
            <a:spLocks noGrp="1"/>
          </p:cNvSpPr>
          <p:nvPr>
            <p:ph type="ftr" sz="quarter" idx="11"/>
          </p:nvPr>
        </p:nvSpPr>
        <p:spPr>
          <a:xfrm>
            <a:off x="1295399" y="6374999"/>
            <a:ext cx="6243203" cy="274320"/>
          </a:xfrm>
          <a:prstGeom prst="rect">
            <a:avLst/>
          </a:prstGeom>
        </p:spPr>
        <p:txBody>
          <a:bodyPr/>
          <a:lstStyle/>
          <a:p>
            <a:endParaRPr lang="en-US" dirty="0"/>
          </a:p>
        </p:txBody>
      </p:sp>
      <p:sp>
        <p:nvSpPr>
          <p:cNvPr id="7" name="Slide Number Placeholder 6"/>
          <p:cNvSpPr>
            <a:spLocks noGrp="1"/>
          </p:cNvSpPr>
          <p:nvPr>
            <p:ph type="sldNum" sz="quarter" idx="12"/>
          </p:nvPr>
        </p:nvSpPr>
        <p:spPr>
          <a:xfrm>
            <a:off x="9525000" y="6374999"/>
            <a:ext cx="1371600" cy="274320"/>
          </a:xfrm>
          <a:prstGeom prst="rect">
            <a:avLst/>
          </a:prstGeom>
        </p:spPr>
        <p:txBody>
          <a:bodyPr/>
          <a:lstStyle/>
          <a:p>
            <a:fld id="{A7F8E3F6-DE14-48B2-B2BC-6FABA9630FB8}" type="slidenum">
              <a:rPr lang="en-US" smtClean="0"/>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301545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1.bin"/><Relationship Id="rId3" Type="http://schemas.openxmlformats.org/officeDocument/2006/relationships/slideLayout" Target="../slideLayouts/slideLayout17.xml"/><Relationship Id="rId21" Type="http://schemas.openxmlformats.org/officeDocument/2006/relationships/image" Target="../media/image4.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2.xml"/><Relationship Id="rId2" Type="http://schemas.openxmlformats.org/officeDocument/2006/relationships/slideLayout" Target="../slideLayouts/slideLayout16.xml"/><Relationship Id="rId16" Type="http://schemas.openxmlformats.org/officeDocument/2006/relationships/tags" Target="../tags/tag1.xml"/><Relationship Id="rId20" Type="http://schemas.openxmlformats.org/officeDocument/2006/relationships/image" Target="../media/image3.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userDrawn="1"/>
        </p:nvSpPr>
        <p:spPr bwMode="white">
          <a:xfrm>
            <a:off x="0" y="0"/>
            <a:ext cx="12192000" cy="137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0" y="1371600"/>
            <a:ext cx="12192000" cy="821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0" y="1443006"/>
            <a:ext cx="12192000" cy="821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295400" y="255134"/>
            <a:ext cx="9601200" cy="1036850"/>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1295400" y="1828800"/>
            <a:ext cx="9601200" cy="4343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55126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274320" indent="-274320" algn="l" defTabSz="914400" rtl="0" eaLnBrk="1" latinLnBrk="0" hangingPunct="1">
        <a:lnSpc>
          <a:spcPct val="90000"/>
        </a:lnSpc>
        <a:spcBef>
          <a:spcPts val="1800"/>
        </a:spcBef>
        <a:buFont typeface="Arial" panose="020B0604020202020204" pitchFamily="34" charset="0"/>
        <a:buChar char="•"/>
        <a:defRPr sz="2400" kern="1200">
          <a:solidFill>
            <a:schemeClr val="tx1"/>
          </a:solidFill>
          <a:latin typeface="Cambria" panose="02040503050406030204" pitchFamily="18" charset="0"/>
          <a:ea typeface="+mn-ea"/>
          <a:cs typeface="+mn-cs"/>
        </a:defRPr>
      </a:lvl1pPr>
      <a:lvl2pPr marL="54864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mn-ea"/>
          <a:cs typeface="+mn-cs"/>
        </a:defRPr>
      </a:lvl2pPr>
      <a:lvl3pPr marL="822960" indent="-228600" algn="l" defTabSz="914400" rtl="0" eaLnBrk="1" latinLnBrk="0" hangingPunct="1">
        <a:lnSpc>
          <a:spcPct val="90000"/>
        </a:lnSpc>
        <a:spcBef>
          <a:spcPts val="800"/>
        </a:spcBef>
        <a:buFont typeface="Arial" panose="020B0604020202020204" pitchFamily="34" charset="0"/>
        <a:buChar char="•"/>
        <a:defRPr sz="2400" kern="1200">
          <a:solidFill>
            <a:schemeClr val="tx1"/>
          </a:solidFill>
          <a:latin typeface="Cambria" panose="02040503050406030204" pitchFamily="18" charset="0"/>
          <a:ea typeface="+mn-ea"/>
          <a:cs typeface="+mn-cs"/>
        </a:defRPr>
      </a:lvl3pPr>
      <a:lvl4pPr marL="1097280" indent="-228600" algn="l" defTabSz="914400" rtl="0" eaLnBrk="1" latinLnBrk="0" hangingPunct="1">
        <a:lnSpc>
          <a:spcPct val="90000"/>
        </a:lnSpc>
        <a:spcBef>
          <a:spcPts val="800"/>
        </a:spcBef>
        <a:buFont typeface="Arial" panose="020B0604020202020204" pitchFamily="34" charset="0"/>
        <a:buChar char="•"/>
        <a:defRPr sz="2000" kern="1200">
          <a:solidFill>
            <a:schemeClr val="tx1"/>
          </a:solidFill>
          <a:latin typeface="Cambria" panose="02040503050406030204" pitchFamily="18" charset="0"/>
          <a:ea typeface="+mn-ea"/>
          <a:cs typeface="+mn-cs"/>
        </a:defRPr>
      </a:lvl4pPr>
      <a:lvl5pPr marL="1325880" indent="-228600" algn="l" defTabSz="914400" rtl="0" eaLnBrk="1" latinLnBrk="0" hangingPunct="1">
        <a:lnSpc>
          <a:spcPct val="90000"/>
        </a:lnSpc>
        <a:spcBef>
          <a:spcPts val="800"/>
        </a:spcBef>
        <a:buFont typeface="Arial" panose="020B0604020202020204" pitchFamily="34" charset="0"/>
        <a:buChar char="•"/>
        <a:defRPr sz="2000" kern="1200">
          <a:solidFill>
            <a:schemeClr val="tx1"/>
          </a:solidFill>
          <a:latin typeface="Cambria" panose="02040503050406030204" pitchFamily="18" charset="0"/>
          <a:ea typeface="+mn-ea"/>
          <a:cs typeface="+mn-cs"/>
        </a:defRPr>
      </a:lvl5pPr>
      <a:lvl6pPr marL="15544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6pPr>
      <a:lvl7pPr marL="17830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7pPr>
      <a:lvl8pPr marL="20116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8pPr>
      <a:lvl9pPr marL="2240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6331A15-E80A-4F38-8965-021F157E8D1B}"/>
              </a:ext>
            </a:extLst>
          </p:cNvPr>
          <p:cNvGraphicFramePr>
            <a:graphicFrameLocks noChangeAspect="1"/>
          </p:cNvGraphicFramePr>
          <p:nvPr userDrawn="1">
            <p:custDataLst>
              <p:tags r:id="rId16"/>
            </p:custDataLst>
            <p:extLst>
              <p:ext uri="{D42A27DB-BD31-4B8C-83A1-F6EECF244321}">
                <p14:modId xmlns:p14="http://schemas.microsoft.com/office/powerpoint/2010/main" val="61529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622" imgH="623" progId="TCLayout.ActiveDocument.1">
                  <p:embed/>
                </p:oleObj>
              </mc:Choice>
              <mc:Fallback>
                <p:oleObj name="think-cell Slide" r:id="rId18" imgW="622" imgH="623" progId="TCLayout.ActiveDocument.1">
                  <p:embed/>
                  <p:pic>
                    <p:nvPicPr>
                      <p:cNvPr id="8" name="Object 7" hidden="1">
                        <a:extLst>
                          <a:ext uri="{FF2B5EF4-FFF2-40B4-BE49-F238E27FC236}">
                            <a16:creationId xmlns:a16="http://schemas.microsoft.com/office/drawing/2014/main" id="{36331A15-E80A-4F38-8965-021F157E8D1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5EC338E-7E4A-4FA7-8F07-A12236AED928}"/>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522DE6D7-393D-3C4F-9493-EABDDBB19FC5}"/>
              </a:ext>
            </a:extLst>
          </p:cNvPr>
          <p:cNvSpPr>
            <a:spLocks noGrp="1"/>
          </p:cNvSpPr>
          <p:nvPr>
            <p:ph type="title"/>
          </p:nvPr>
        </p:nvSpPr>
        <p:spPr>
          <a:xfrm>
            <a:off x="838200" y="312398"/>
            <a:ext cx="10515600" cy="97506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51510AA-5908-DE4D-80BE-52D994BDB847}"/>
              </a:ext>
            </a:extLst>
          </p:cNvPr>
          <p:cNvSpPr>
            <a:spLocks noGrp="1"/>
          </p:cNvSpPr>
          <p:nvPr>
            <p:ph type="body" idx="1"/>
          </p:nvPr>
        </p:nvSpPr>
        <p:spPr>
          <a:xfrm>
            <a:off x="838200" y="1447801"/>
            <a:ext cx="10515600" cy="31841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08CF6B0-7A4A-4C45-8548-E0201EB746B4}"/>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dirty="0"/>
          </a:p>
        </p:txBody>
      </p:sp>
      <p:pic>
        <p:nvPicPr>
          <p:cNvPr id="9" name="Picture 8" descr="A close up of a sign&#10;&#10;Description automatically generated">
            <a:extLst>
              <a:ext uri="{FF2B5EF4-FFF2-40B4-BE49-F238E27FC236}">
                <a16:creationId xmlns:a16="http://schemas.microsoft.com/office/drawing/2014/main" id="{E27A324C-1E21-864A-AA62-67DAD0B38DA5}"/>
              </a:ext>
            </a:extLst>
          </p:cNvPr>
          <p:cNvPicPr>
            <a:picLocks noChangeAspect="1"/>
          </p:cNvPicPr>
          <p:nvPr userDrawn="1"/>
        </p:nvPicPr>
        <p:blipFill>
          <a:blip r:embed="rId20"/>
          <a:stretch>
            <a:fillRect/>
          </a:stretch>
        </p:blipFill>
        <p:spPr>
          <a:xfrm>
            <a:off x="2532716" y="6082982"/>
            <a:ext cx="1585665" cy="457200"/>
          </a:xfrm>
          <a:prstGeom prst="rect">
            <a:avLst/>
          </a:prstGeom>
        </p:spPr>
      </p:pic>
      <p:pic>
        <p:nvPicPr>
          <p:cNvPr id="10" name="Picture 9">
            <a:extLst>
              <a:ext uri="{FF2B5EF4-FFF2-40B4-BE49-F238E27FC236}">
                <a16:creationId xmlns:a16="http://schemas.microsoft.com/office/drawing/2014/main" id="{10C51B56-88A7-B24E-B613-123FF219E481}"/>
              </a:ext>
            </a:extLst>
          </p:cNvPr>
          <p:cNvPicPr>
            <a:picLocks noChangeAspect="1"/>
          </p:cNvPicPr>
          <p:nvPr userDrawn="1"/>
        </p:nvPicPr>
        <p:blipFill>
          <a:blip r:embed="rId21"/>
          <a:srcRect/>
          <a:stretch/>
        </p:blipFill>
        <p:spPr>
          <a:xfrm>
            <a:off x="1682337" y="5968682"/>
            <a:ext cx="685800" cy="685800"/>
          </a:xfrm>
          <a:prstGeom prst="rect">
            <a:avLst/>
          </a:prstGeom>
        </p:spPr>
      </p:pic>
      <p:pic>
        <p:nvPicPr>
          <p:cNvPr id="11" name="Picture 10" descr="A close up of a sign&#10;&#10;Description automatically generated">
            <a:extLst>
              <a:ext uri="{FF2B5EF4-FFF2-40B4-BE49-F238E27FC236}">
                <a16:creationId xmlns:a16="http://schemas.microsoft.com/office/drawing/2014/main" id="{0F1564B7-47FB-4748-9DA8-E125FB6D46BB}"/>
              </a:ext>
            </a:extLst>
          </p:cNvPr>
          <p:cNvPicPr>
            <a:picLocks noChangeAspect="1"/>
          </p:cNvPicPr>
          <p:nvPr userDrawn="1"/>
        </p:nvPicPr>
        <p:blipFill>
          <a:blip r:embed="rId22"/>
          <a:stretch>
            <a:fillRect/>
          </a:stretch>
        </p:blipFill>
        <p:spPr>
          <a:xfrm>
            <a:off x="831958" y="5968682"/>
            <a:ext cx="685800" cy="685800"/>
          </a:xfrm>
          <a:prstGeom prst="rect">
            <a:avLst/>
          </a:prstGeom>
        </p:spPr>
      </p:pic>
    </p:spTree>
    <p:extLst>
      <p:ext uri="{BB962C8B-B14F-4D97-AF65-F5344CB8AC3E}">
        <p14:creationId xmlns:p14="http://schemas.microsoft.com/office/powerpoint/2010/main" val="197850508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hf hdr="0"/>
  <p:txStyles>
    <p:titleStyle>
      <a:lvl1pPr algn="l" defTabSz="914400" rtl="0" eaLnBrk="1" latinLnBrk="0" hangingPunct="1">
        <a:lnSpc>
          <a:spcPct val="90000"/>
        </a:lnSpc>
        <a:spcBef>
          <a:spcPct val="0"/>
        </a:spcBef>
        <a:buNone/>
        <a:defRPr sz="4400"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D8EC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D8EC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8EC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8EC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jp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openxmlformats.org/officeDocument/2006/relationships/hyperlink" Target="mailto:collegebound@wsac.wa.gov"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image" Target="../media/image28.png"/><Relationship Id="rId7" Type="http://schemas.openxmlformats.org/officeDocument/2006/relationships/diagramQuickStyle" Target="../diagrams/quickStyle15.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Layout" Target="../diagrams/layout15.xml"/><Relationship Id="rId5" Type="http://schemas.openxmlformats.org/officeDocument/2006/relationships/diagramData" Target="../diagrams/data15.xml"/><Relationship Id="rId4" Type="http://schemas.openxmlformats.org/officeDocument/2006/relationships/image" Target="../media/image29.png"/><Relationship Id="rId9" Type="http://schemas.microsoft.com/office/2007/relationships/diagramDrawing" Target="../diagrams/drawing15.xml"/></Relationships>
</file>

<file path=ppt/slides/_rels/slide23.xml.rels><?xml version="1.0" encoding="UTF-8" standalone="yes"?>
<Relationships xmlns="http://schemas.openxmlformats.org/package/2006/relationships"><Relationship Id="rId3" Type="http://schemas.openxmlformats.org/officeDocument/2006/relationships/hyperlink" Target="https://gcc02.safelinks.protection.outlook.com/?url=https%3A%2F%2Fwsac.wa.gov%2FWASFA&amp;data=04%7C01%7CChristinaW%40wsac.wa.gov%7C3a1ad8794c364a63ee7d08d93d935756%7C11d0e217264e400a8ba057dcc127d72d%7C0%7C0%7C637608525305575262%7CUnknown%7CTWFpbGZsb3d8eyJWIjoiMC4wLjAwMDAiLCJQIjoiV2luMzIiLCJBTiI6Ik1haWwiLCJXVCI6Mn0%3D%7C1000&amp;sdata=rvFQPh7nH8yPF%2BxYAPEgFwJ2rfDluYMdRYNzr74jnRM%3D&amp;reserved=0"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image" Target="../media/image31.png"/><Relationship Id="rId7" Type="http://schemas.openxmlformats.org/officeDocument/2006/relationships/diagramColors" Target="../diagrams/colors16.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diagramColors" Target="../diagrams/colors19.xml"/><Relationship Id="rId5" Type="http://schemas.openxmlformats.org/officeDocument/2006/relationships/diagramQuickStyle" Target="../diagrams/quickStyle19.xml"/><Relationship Id="rId10" Type="http://schemas.openxmlformats.org/officeDocument/2006/relationships/image" Target="../media/image35.png"/><Relationship Id="rId4" Type="http://schemas.openxmlformats.org/officeDocument/2006/relationships/diagramLayout" Target="../diagrams/layout19.xml"/><Relationship Id="rId9"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31.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image" Target="../media/image36.png"/><Relationship Id="rId7" Type="http://schemas.openxmlformats.org/officeDocument/2006/relationships/diagramColors" Target="../diagrams/colors21.xm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3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0.png"/><Relationship Id="rId7" Type="http://schemas.openxmlformats.org/officeDocument/2006/relationships/diagramQuickStyle" Target="../diagrams/quickStyle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1.wdp"/><Relationship Id="rId9"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01274" y="2199289"/>
            <a:ext cx="5356273" cy="2459421"/>
          </a:xfrm>
        </p:spPr>
        <p:txBody>
          <a:bodyPr>
            <a:noAutofit/>
          </a:bodyPr>
          <a:lstStyle/>
          <a:p>
            <a:r>
              <a:rPr lang="en-US" sz="5400" dirty="0"/>
              <a:t>Introduction to Financial Aid </a:t>
            </a:r>
            <a:br>
              <a:rPr lang="en-US" sz="5400" dirty="0"/>
            </a:br>
            <a:endParaRPr lang="en-US" dirty="0">
              <a:latin typeface="Tw Cen MT Condensed Extra Bold" panose="020B0803020202020204" pitchFamily="34" charset="0"/>
            </a:endParaRPr>
          </a:p>
        </p:txBody>
      </p:sp>
      <p:pic>
        <p:nvPicPr>
          <p:cNvPr id="12" name="Picture Placeholder 11"/>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9171" t="211" r="38285" b="-211"/>
          <a:stretch/>
        </p:blipFill>
        <p:spPr/>
      </p:pic>
      <p:pic>
        <p:nvPicPr>
          <p:cNvPr id="5" name="Picture Placeholder 5">
            <a:extLst>
              <a:ext uri="{FF2B5EF4-FFF2-40B4-BE49-F238E27FC236}">
                <a16:creationId xmlns:a16="http://schemas.microsoft.com/office/drawing/2014/main" id="{D6B60AE9-30A5-41B3-B4BB-811A1746246E}"/>
              </a:ext>
            </a:extLst>
          </p:cNvPr>
          <p:cNvPicPr>
            <a:picLocks noChangeAspect="1"/>
          </p:cNvPicPr>
          <p:nvPr/>
        </p:nvPicPr>
        <p:blipFill>
          <a:blip r:embed="rId4">
            <a:extLst>
              <a:ext uri="{28A0092B-C50C-407E-A947-70E740481C1C}">
                <a14:useLocalDpi xmlns:a14="http://schemas.microsoft.com/office/drawing/2010/main" val="0"/>
              </a:ext>
            </a:extLst>
          </a:blip>
          <a:srcRect l="24398" r="24398"/>
          <a:stretch>
            <a:fillRect/>
          </a:stretch>
        </p:blipFill>
        <p:spPr>
          <a:xfrm>
            <a:off x="6743700" y="0"/>
            <a:ext cx="5448300" cy="6858000"/>
          </a:xfrm>
          <a:custGeom>
            <a:avLst/>
            <a:gdLst>
              <a:gd name="connsiteX0" fmla="*/ 0 w 5448297"/>
              <a:gd name="connsiteY0" fmla="*/ 0 h 6858000"/>
              <a:gd name="connsiteX1" fmla="*/ 5448297 w 5448297"/>
              <a:gd name="connsiteY1" fmla="*/ 0 h 6858000"/>
              <a:gd name="connsiteX2" fmla="*/ 5448297 w 5448297"/>
              <a:gd name="connsiteY2" fmla="*/ 6858000 h 6858000"/>
              <a:gd name="connsiteX3" fmla="*/ 338667 w 5448297"/>
              <a:gd name="connsiteY3" fmla="*/ 6858000 h 6858000"/>
              <a:gd name="connsiteX4" fmla="*/ 1185333 w 5448297"/>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297" h="6858000">
                <a:moveTo>
                  <a:pt x="0" y="0"/>
                </a:moveTo>
                <a:lnTo>
                  <a:pt x="5448297" y="0"/>
                </a:lnTo>
                <a:lnTo>
                  <a:pt x="5448297" y="6858000"/>
                </a:lnTo>
                <a:lnTo>
                  <a:pt x="338667" y="6858000"/>
                </a:lnTo>
                <a:lnTo>
                  <a:pt x="1185333" y="4337050"/>
                </a:lnTo>
                <a:close/>
              </a:path>
            </a:pathLst>
          </a:custGeom>
          <a:noFill/>
          <a:ln>
            <a:noFill/>
          </a:ln>
        </p:spPr>
      </p:pic>
      <p:pic>
        <p:nvPicPr>
          <p:cNvPr id="3" name="Picture 2">
            <a:extLst>
              <a:ext uri="{FF2B5EF4-FFF2-40B4-BE49-F238E27FC236}">
                <a16:creationId xmlns:a16="http://schemas.microsoft.com/office/drawing/2014/main" id="{D3B31E9C-69C2-4903-77AB-70386E62EE91}"/>
              </a:ext>
            </a:extLst>
          </p:cNvPr>
          <p:cNvPicPr>
            <a:picLocks noChangeAspect="1"/>
          </p:cNvPicPr>
          <p:nvPr/>
        </p:nvPicPr>
        <p:blipFill>
          <a:blip r:embed="rId5"/>
          <a:stretch>
            <a:fillRect/>
          </a:stretch>
        </p:blipFill>
        <p:spPr>
          <a:xfrm>
            <a:off x="347662" y="5357968"/>
            <a:ext cx="5247595" cy="1214961"/>
          </a:xfrm>
          <a:prstGeom prst="rect">
            <a:avLst/>
          </a:prstGeom>
        </p:spPr>
      </p:pic>
    </p:spTree>
    <p:extLst>
      <p:ext uri="{BB962C8B-B14F-4D97-AF65-F5344CB8AC3E}">
        <p14:creationId xmlns:p14="http://schemas.microsoft.com/office/powerpoint/2010/main" val="40069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ED826-50DD-4F59-8A60-1B74757E432C}"/>
              </a:ext>
            </a:extLst>
          </p:cNvPr>
          <p:cNvSpPr>
            <a:spLocks noGrp="1"/>
          </p:cNvSpPr>
          <p:nvPr>
            <p:ph type="title"/>
          </p:nvPr>
        </p:nvSpPr>
        <p:spPr/>
        <p:txBody>
          <a:bodyPr>
            <a:normAutofit/>
          </a:bodyPr>
          <a:lstStyle/>
          <a:p>
            <a:r>
              <a:rPr lang="en-US" sz="4400" dirty="0"/>
              <a:t>Work-Study</a:t>
            </a:r>
            <a:endParaRPr lang="en-US" sz="3200" dirty="0"/>
          </a:p>
        </p:txBody>
      </p:sp>
      <p:sp>
        <p:nvSpPr>
          <p:cNvPr id="3" name="Content Placeholder 2">
            <a:extLst>
              <a:ext uri="{FF2B5EF4-FFF2-40B4-BE49-F238E27FC236}">
                <a16:creationId xmlns:a16="http://schemas.microsoft.com/office/drawing/2014/main" id="{28F18CD3-7810-49AF-9EE3-CED26CAD2EB5}"/>
              </a:ext>
            </a:extLst>
          </p:cNvPr>
          <p:cNvSpPr>
            <a:spLocks noGrp="1"/>
          </p:cNvSpPr>
          <p:nvPr>
            <p:ph idx="1"/>
          </p:nvPr>
        </p:nvSpPr>
        <p:spPr>
          <a:xfrm>
            <a:off x="885824" y="2333064"/>
            <a:ext cx="5372101" cy="3639671"/>
          </a:xfrm>
        </p:spPr>
        <p:txBody>
          <a:bodyPr>
            <a:normAutofit/>
          </a:bodyPr>
          <a:lstStyle/>
          <a:p>
            <a:pPr marL="0" indent="0" algn="ctr">
              <a:buNone/>
            </a:pPr>
            <a:r>
              <a:rPr lang="en-US" dirty="0">
                <a:latin typeface="+mj-lt"/>
              </a:rPr>
              <a:t>Work-Study provides part-time jobs for students with financial need, allowing them to earn money to help pay education expenses. These jobs are typically on campus. </a:t>
            </a:r>
          </a:p>
        </p:txBody>
      </p:sp>
      <p:graphicFrame>
        <p:nvGraphicFramePr>
          <p:cNvPr id="4" name="Diagram 3">
            <a:extLst>
              <a:ext uri="{FF2B5EF4-FFF2-40B4-BE49-F238E27FC236}">
                <a16:creationId xmlns:a16="http://schemas.microsoft.com/office/drawing/2014/main" id="{A562051C-8317-459C-B24C-673140A61054}"/>
              </a:ext>
            </a:extLst>
          </p:cNvPr>
          <p:cNvGraphicFramePr/>
          <p:nvPr/>
        </p:nvGraphicFramePr>
        <p:xfrm>
          <a:off x="7219950" y="1801548"/>
          <a:ext cx="4086226" cy="47027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2315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444608-331F-4E68-AECC-67ACBE1F03EB}"/>
              </a:ext>
            </a:extLst>
          </p:cNvPr>
          <p:cNvSpPr>
            <a:spLocks noGrp="1"/>
          </p:cNvSpPr>
          <p:nvPr>
            <p:ph type="title"/>
          </p:nvPr>
        </p:nvSpPr>
        <p:spPr/>
        <p:txBody>
          <a:bodyPr/>
          <a:lstStyle/>
          <a:p>
            <a:r>
              <a:rPr lang="en-US" sz="4400" dirty="0">
                <a:solidFill>
                  <a:prstClr val="white"/>
                </a:solidFill>
                <a:latin typeface="Tw Cen MT Condensed Extra Bold" panose="020B0803020202020204" pitchFamily="34" charset="0"/>
              </a:rPr>
              <a:t>Loans</a:t>
            </a:r>
            <a:endParaRPr lang="en-US" dirty="0"/>
          </a:p>
        </p:txBody>
      </p:sp>
      <p:graphicFrame>
        <p:nvGraphicFramePr>
          <p:cNvPr id="7" name="Content Placeholder 6">
            <a:extLst>
              <a:ext uri="{FF2B5EF4-FFF2-40B4-BE49-F238E27FC236}">
                <a16:creationId xmlns:a16="http://schemas.microsoft.com/office/drawing/2014/main" id="{7005BD7A-F570-45F1-940E-43DA82E6E0FA}"/>
              </a:ext>
            </a:extLst>
          </p:cNvPr>
          <p:cNvGraphicFramePr>
            <a:graphicFrameLocks noGrp="1"/>
          </p:cNvGraphicFramePr>
          <p:nvPr>
            <p:ph sz="half" idx="2"/>
          </p:nvPr>
        </p:nvGraphicFramePr>
        <p:xfrm>
          <a:off x="6450106" y="1923770"/>
          <a:ext cx="5041526" cy="434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Content Placeholder 4">
            <a:extLst>
              <a:ext uri="{FF2B5EF4-FFF2-40B4-BE49-F238E27FC236}">
                <a16:creationId xmlns:a16="http://schemas.microsoft.com/office/drawing/2014/main" id="{119AECDB-E29B-4147-A1F9-EC60A9304B98}"/>
              </a:ext>
            </a:extLst>
          </p:cNvPr>
          <p:cNvSpPr>
            <a:spLocks noGrp="1"/>
          </p:cNvSpPr>
          <p:nvPr>
            <p:ph sz="half" idx="1"/>
          </p:nvPr>
        </p:nvSpPr>
        <p:spPr>
          <a:xfrm>
            <a:off x="600636" y="1923770"/>
            <a:ext cx="5041526" cy="4153460"/>
          </a:xfrm>
        </p:spPr>
        <p:txBody>
          <a:bodyPr>
            <a:normAutofit/>
          </a:bodyPr>
          <a:lstStyle/>
          <a:p>
            <a:pPr marL="0" indent="0" algn="ctr">
              <a:buNone/>
            </a:pPr>
            <a:r>
              <a:rPr lang="en-US" sz="3600" dirty="0">
                <a:latin typeface="+mj-lt"/>
              </a:rPr>
              <a:t>A student loan is money you borrow for your education, and pay back over time. Unlike grants or work-study you do have to pay back your loans. You do not have to accept all the loans offered to you. </a:t>
            </a:r>
          </a:p>
        </p:txBody>
      </p:sp>
    </p:spTree>
    <p:extLst>
      <p:ext uri="{BB962C8B-B14F-4D97-AF65-F5344CB8AC3E}">
        <p14:creationId xmlns:p14="http://schemas.microsoft.com/office/powerpoint/2010/main" val="2278167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Sources of Financial Aid </a:t>
            </a:r>
          </a:p>
        </p:txBody>
      </p:sp>
      <p:graphicFrame>
        <p:nvGraphicFramePr>
          <p:cNvPr id="4" name="Diagram 3"/>
          <p:cNvGraphicFramePr/>
          <p:nvPr>
            <p:extLst>
              <p:ext uri="{D42A27DB-BD31-4B8C-83A1-F6EECF244321}">
                <p14:modId xmlns:p14="http://schemas.microsoft.com/office/powerpoint/2010/main" val="3806117376"/>
              </p:ext>
            </p:extLst>
          </p:nvPr>
        </p:nvGraphicFramePr>
        <p:xfrm>
          <a:off x="692537" y="2805378"/>
          <a:ext cx="10685417" cy="28247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298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Examples of Federal Financial Aid Programs</a:t>
            </a:r>
          </a:p>
        </p:txBody>
      </p:sp>
      <p:graphicFrame>
        <p:nvGraphicFramePr>
          <p:cNvPr id="7" name="Content Placeholder 2"/>
          <p:cNvGraphicFramePr>
            <a:graphicFrameLocks noGrp="1"/>
          </p:cNvGraphicFramePr>
          <p:nvPr>
            <p:ph sz="half" idx="1"/>
            <p:extLst>
              <p:ext uri="{D42A27DB-BD31-4B8C-83A1-F6EECF244321}">
                <p14:modId xmlns:p14="http://schemas.microsoft.com/office/powerpoint/2010/main" val="1276258934"/>
              </p:ext>
            </p:extLst>
          </p:nvPr>
        </p:nvGraphicFramePr>
        <p:xfrm>
          <a:off x="548640" y="2402723"/>
          <a:ext cx="5705855" cy="31812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36" name="Picture 12" descr="Counselor's Corner / FAFSA">
            <a:extLst>
              <a:ext uri="{FF2B5EF4-FFF2-40B4-BE49-F238E27FC236}">
                <a16:creationId xmlns:a16="http://schemas.microsoft.com/office/drawing/2014/main" id="{DC5611B6-5DEC-A10E-9F39-206D8A2727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5916" y="3045401"/>
            <a:ext cx="4607983" cy="1895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297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Examples of State Financial Aid</a:t>
            </a:r>
          </a:p>
        </p:txBody>
      </p:sp>
      <p:graphicFrame>
        <p:nvGraphicFramePr>
          <p:cNvPr id="4" name="Content Placeholder 2"/>
          <p:cNvGraphicFramePr>
            <a:graphicFrameLocks noGrp="1"/>
          </p:cNvGraphicFramePr>
          <p:nvPr>
            <p:ph sz="half" idx="2"/>
            <p:extLst>
              <p:ext uri="{D42A27DB-BD31-4B8C-83A1-F6EECF244321}">
                <p14:modId xmlns:p14="http://schemas.microsoft.com/office/powerpoint/2010/main" val="3027951239"/>
              </p:ext>
            </p:extLst>
          </p:nvPr>
        </p:nvGraphicFramePr>
        <p:xfrm>
          <a:off x="1095683" y="1728439"/>
          <a:ext cx="5162551" cy="4861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Content Placeholder 7"/>
          <p:cNvPicPr>
            <a:picLocks noGrp="1" noChangeAspect="1"/>
          </p:cNvPicPr>
          <p:nvPr>
            <p:ph sz="half" idx="1"/>
          </p:nvPr>
        </p:nvPicPr>
        <p:blipFill>
          <a:blip r:embed="rId8" cstate="print">
            <a:extLst>
              <a:ext uri="{28A0092B-C50C-407E-A947-70E740481C1C}">
                <a14:useLocalDpi xmlns:a14="http://schemas.microsoft.com/office/drawing/2010/main" val="0"/>
              </a:ext>
            </a:extLst>
          </a:blip>
          <a:stretch>
            <a:fillRect/>
          </a:stretch>
        </p:blipFill>
        <p:spPr>
          <a:xfrm>
            <a:off x="7121024" y="1151096"/>
            <a:ext cx="4573114" cy="3608770"/>
          </a:xfrm>
        </p:spPr>
      </p:pic>
      <p:pic>
        <p:nvPicPr>
          <p:cNvPr id="2" name="Picture 1">
            <a:extLst>
              <a:ext uri="{FF2B5EF4-FFF2-40B4-BE49-F238E27FC236}">
                <a16:creationId xmlns:a16="http://schemas.microsoft.com/office/drawing/2014/main" id="{CAB58ABB-5E43-4C45-A4C4-55C8988C66D1}"/>
              </a:ext>
            </a:extLst>
          </p:cNvPr>
          <p:cNvPicPr>
            <a:picLocks noChangeAspect="1"/>
          </p:cNvPicPr>
          <p:nvPr/>
        </p:nvPicPr>
        <p:blipFill>
          <a:blip r:embed="rId9"/>
          <a:stretch>
            <a:fillRect/>
          </a:stretch>
        </p:blipFill>
        <p:spPr>
          <a:xfrm>
            <a:off x="6926319" y="4159405"/>
            <a:ext cx="4962525" cy="2247900"/>
          </a:xfrm>
          <a:prstGeom prst="rect">
            <a:avLst/>
          </a:prstGeom>
        </p:spPr>
      </p:pic>
    </p:spTree>
    <p:extLst>
      <p:ext uri="{BB962C8B-B14F-4D97-AF65-F5344CB8AC3E}">
        <p14:creationId xmlns:p14="http://schemas.microsoft.com/office/powerpoint/2010/main" val="195116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399" y="255134"/>
            <a:ext cx="10709787" cy="1036850"/>
          </a:xfrm>
        </p:spPr>
        <p:txBody>
          <a:bodyPr>
            <a:noAutofit/>
          </a:bodyPr>
          <a:lstStyle/>
          <a:p>
            <a:r>
              <a:rPr lang="en-US" sz="4000" dirty="0"/>
              <a:t>College Bound Scholarship</a:t>
            </a:r>
            <a:br>
              <a:rPr lang="en-US" sz="4000" dirty="0"/>
            </a:br>
            <a:r>
              <a:rPr lang="en-US" sz="4000" dirty="0"/>
              <a:t>Eligibility and Auto-Enrollment: A Two-Step Process </a:t>
            </a:r>
          </a:p>
        </p:txBody>
      </p:sp>
      <p:graphicFrame>
        <p:nvGraphicFramePr>
          <p:cNvPr id="5" name="Content Placeholder 4"/>
          <p:cNvGraphicFramePr>
            <a:graphicFrameLocks noGrp="1"/>
          </p:cNvGraphicFramePr>
          <p:nvPr>
            <p:ph idx="1"/>
          </p:nvPr>
        </p:nvGraphicFramePr>
        <p:xfrm>
          <a:off x="1295400" y="1573666"/>
          <a:ext cx="9601200" cy="52843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345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00B99-964E-4562-A044-B404486465E8}"/>
              </a:ext>
            </a:extLst>
          </p:cNvPr>
          <p:cNvSpPr>
            <a:spLocks noGrp="1"/>
          </p:cNvSpPr>
          <p:nvPr>
            <p:ph type="title"/>
          </p:nvPr>
        </p:nvSpPr>
        <p:spPr/>
        <p:txBody>
          <a:bodyPr>
            <a:normAutofit/>
          </a:bodyPr>
          <a:lstStyle/>
          <a:p>
            <a:r>
              <a:rPr lang="en-US" sz="4400" dirty="0"/>
              <a:t>College Bound Scholarship </a:t>
            </a:r>
            <a:r>
              <a:rPr lang="en-US" sz="4400" dirty="0">
                <a:latin typeface="Tw Cen MT Condensed Extra Bold" panose="020B0803020202020204" pitchFamily="34" charset="0"/>
              </a:rPr>
              <a:t>Commitment</a:t>
            </a:r>
            <a:r>
              <a:rPr lang="en-US" sz="4400" dirty="0"/>
              <a:t> </a:t>
            </a:r>
          </a:p>
        </p:txBody>
      </p:sp>
      <p:graphicFrame>
        <p:nvGraphicFramePr>
          <p:cNvPr id="4" name="Content Placeholder 3">
            <a:extLst>
              <a:ext uri="{FF2B5EF4-FFF2-40B4-BE49-F238E27FC236}">
                <a16:creationId xmlns:a16="http://schemas.microsoft.com/office/drawing/2014/main" id="{55F64800-EB03-4431-8D0C-698BB5182CB8}"/>
              </a:ext>
            </a:extLst>
          </p:cNvPr>
          <p:cNvGraphicFramePr>
            <a:graphicFrameLocks noGrp="1"/>
          </p:cNvGraphicFramePr>
          <p:nvPr>
            <p:ph idx="1"/>
            <p:extLst>
              <p:ext uri="{D42A27DB-BD31-4B8C-83A1-F6EECF244321}">
                <p14:modId xmlns:p14="http://schemas.microsoft.com/office/powerpoint/2010/main" val="146353685"/>
              </p:ext>
            </p:extLst>
          </p:nvPr>
        </p:nvGraphicFramePr>
        <p:xfrm>
          <a:off x="237025" y="1906160"/>
          <a:ext cx="7480511" cy="43943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Content Placeholder 10">
            <a:extLst>
              <a:ext uri="{FF2B5EF4-FFF2-40B4-BE49-F238E27FC236}">
                <a16:creationId xmlns:a16="http://schemas.microsoft.com/office/drawing/2014/main" id="{6F7CFCD3-A1C4-4C14-934E-FC45BD3CFF3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82544" y="2659378"/>
            <a:ext cx="2647703" cy="1443941"/>
          </a:xfrm>
          <a:prstGeom prst="rect">
            <a:avLst/>
          </a:prstGeom>
        </p:spPr>
      </p:pic>
      <p:sp>
        <p:nvSpPr>
          <p:cNvPr id="6" name="Content Placeholder 2">
            <a:extLst>
              <a:ext uri="{FF2B5EF4-FFF2-40B4-BE49-F238E27FC236}">
                <a16:creationId xmlns:a16="http://schemas.microsoft.com/office/drawing/2014/main" id="{2CFA6645-AE93-4A94-B889-5C0AABF19587}"/>
              </a:ext>
            </a:extLst>
          </p:cNvPr>
          <p:cNvSpPr txBox="1">
            <a:spLocks/>
          </p:cNvSpPr>
          <p:nvPr/>
        </p:nvSpPr>
        <p:spPr>
          <a:xfrm>
            <a:off x="8107680" y="4403682"/>
            <a:ext cx="3847295" cy="716958"/>
          </a:xfrm>
          <a:prstGeom prst="rect">
            <a:avLst/>
          </a:prstGeom>
        </p:spPr>
        <p:txBody>
          <a:bodyPr vert="horz" lIns="91440" tIns="45720" rIns="91440" bIns="45720" rtlCol="0">
            <a:normAutofit fontScale="85000" lnSpcReduction="10000"/>
          </a:bodyPr>
          <a:lstStyle>
            <a:lvl1pPr marL="274320" indent="-274320" algn="l" defTabSz="914400" rtl="0" eaLnBrk="1" latinLnBrk="0" hangingPunct="1">
              <a:lnSpc>
                <a:spcPct val="90000"/>
              </a:lnSpc>
              <a:spcBef>
                <a:spcPts val="1800"/>
              </a:spcBef>
              <a:buFont typeface="Arial" panose="020B0604020202020204" pitchFamily="34" charset="0"/>
              <a:buChar char="•"/>
              <a:defRPr sz="2400" kern="1200">
                <a:solidFill>
                  <a:schemeClr val="tx1"/>
                </a:solidFill>
                <a:latin typeface="Cambria" panose="02040503050406030204" pitchFamily="18" charset="0"/>
                <a:ea typeface="+mn-ea"/>
                <a:cs typeface="+mn-cs"/>
              </a:defRPr>
            </a:lvl1pPr>
            <a:lvl2pPr marL="54864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mn-ea"/>
                <a:cs typeface="+mn-cs"/>
              </a:defRPr>
            </a:lvl2pPr>
            <a:lvl3pPr marL="822960" indent="-228600" algn="l" defTabSz="914400" rtl="0" eaLnBrk="1" latinLnBrk="0" hangingPunct="1">
              <a:lnSpc>
                <a:spcPct val="90000"/>
              </a:lnSpc>
              <a:spcBef>
                <a:spcPts val="800"/>
              </a:spcBef>
              <a:buFont typeface="Arial" panose="020B0604020202020204" pitchFamily="34" charset="0"/>
              <a:buChar char="•"/>
              <a:defRPr sz="2400" kern="1200">
                <a:solidFill>
                  <a:schemeClr val="tx1"/>
                </a:solidFill>
                <a:latin typeface="Cambria" panose="02040503050406030204" pitchFamily="18" charset="0"/>
                <a:ea typeface="+mn-ea"/>
                <a:cs typeface="+mn-cs"/>
              </a:defRPr>
            </a:lvl3pPr>
            <a:lvl4pPr marL="1097280" indent="-228600" algn="l" defTabSz="914400" rtl="0" eaLnBrk="1" latinLnBrk="0" hangingPunct="1">
              <a:lnSpc>
                <a:spcPct val="90000"/>
              </a:lnSpc>
              <a:spcBef>
                <a:spcPts val="800"/>
              </a:spcBef>
              <a:buFont typeface="Arial" panose="020B0604020202020204" pitchFamily="34" charset="0"/>
              <a:buChar char="•"/>
              <a:defRPr sz="2000" kern="1200">
                <a:solidFill>
                  <a:schemeClr val="tx1"/>
                </a:solidFill>
                <a:latin typeface="Cambria" panose="02040503050406030204" pitchFamily="18" charset="0"/>
                <a:ea typeface="+mn-ea"/>
                <a:cs typeface="+mn-cs"/>
              </a:defRPr>
            </a:lvl4pPr>
            <a:lvl5pPr marL="1325880" indent="-228600" algn="l" defTabSz="914400" rtl="0" eaLnBrk="1" latinLnBrk="0" hangingPunct="1">
              <a:lnSpc>
                <a:spcPct val="90000"/>
              </a:lnSpc>
              <a:spcBef>
                <a:spcPts val="800"/>
              </a:spcBef>
              <a:buFont typeface="Arial" panose="020B0604020202020204" pitchFamily="34" charset="0"/>
              <a:buChar char="•"/>
              <a:defRPr sz="2000" kern="1200">
                <a:solidFill>
                  <a:schemeClr val="tx1"/>
                </a:solidFill>
                <a:latin typeface="Cambria" panose="02040503050406030204" pitchFamily="18" charset="0"/>
                <a:ea typeface="+mn-ea"/>
                <a:cs typeface="+mn-cs"/>
              </a:defRPr>
            </a:lvl5pPr>
            <a:lvl6pPr marL="15544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6pPr>
            <a:lvl7pPr marL="17830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7pPr>
            <a:lvl8pPr marL="20116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8pPr>
            <a:lvl9pPr marL="2240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9pPr>
          </a:lstStyle>
          <a:p>
            <a:pPr marL="0" indent="0" algn="ctr">
              <a:buNone/>
            </a:pPr>
            <a:r>
              <a:rPr lang="en-US" dirty="0">
                <a:latin typeface="+mj-lt"/>
              </a:rPr>
              <a:t> </a:t>
            </a:r>
            <a:r>
              <a:rPr lang="en-US" sz="2800" dirty="0">
                <a:latin typeface="+mj-lt"/>
                <a:hlinkClick r:id="rId9"/>
              </a:rPr>
              <a:t>collegebound@wsac.wa.gov</a:t>
            </a:r>
            <a:r>
              <a:rPr lang="en-US" sz="2800" dirty="0">
                <a:latin typeface="+mj-lt"/>
              </a:rPr>
              <a:t> or 888-535-0747, option 1</a:t>
            </a:r>
            <a:endParaRPr lang="en-US" dirty="0">
              <a:latin typeface="+mj-lt"/>
            </a:endParaRPr>
          </a:p>
        </p:txBody>
      </p:sp>
    </p:spTree>
    <p:extLst>
      <p:ext uri="{BB962C8B-B14F-4D97-AF65-F5344CB8AC3E}">
        <p14:creationId xmlns:p14="http://schemas.microsoft.com/office/powerpoint/2010/main" val="249608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BDDDBB1E-6252-4FCA-A062-CB8D5D6F6A2D}"/>
              </a:ext>
            </a:extLst>
          </p:cNvPr>
          <p:cNvGraphicFramePr>
            <a:graphicFrameLocks noGrp="1"/>
          </p:cNvGraphicFramePr>
          <p:nvPr>
            <p:ph idx="1"/>
          </p:nvPr>
        </p:nvGraphicFramePr>
        <p:xfrm>
          <a:off x="374737" y="1825625"/>
          <a:ext cx="6289675" cy="4667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A54CBD6A-0CE3-45B2-B658-BF4D0C5C28C1}"/>
              </a:ext>
            </a:extLst>
          </p:cNvPr>
          <p:cNvSpPr>
            <a:spLocks noGrp="1"/>
          </p:cNvSpPr>
          <p:nvPr>
            <p:ph type="title"/>
          </p:nvPr>
        </p:nvSpPr>
        <p:spPr/>
        <p:txBody>
          <a:bodyPr>
            <a:normAutofit/>
          </a:bodyPr>
          <a:lstStyle/>
          <a:p>
            <a:r>
              <a:rPr lang="en-US" sz="4000"/>
              <a:t>State Financial Aid Calculator</a:t>
            </a:r>
          </a:p>
        </p:txBody>
      </p:sp>
      <p:pic>
        <p:nvPicPr>
          <p:cNvPr id="4" name="Picture 3">
            <a:extLst>
              <a:ext uri="{FF2B5EF4-FFF2-40B4-BE49-F238E27FC236}">
                <a16:creationId xmlns:a16="http://schemas.microsoft.com/office/drawing/2014/main" id="{C5EBBD48-31E0-49C1-8E08-00B781E3F4D3}"/>
              </a:ext>
            </a:extLst>
          </p:cNvPr>
          <p:cNvPicPr>
            <a:picLocks noChangeAspect="1"/>
          </p:cNvPicPr>
          <p:nvPr/>
        </p:nvPicPr>
        <p:blipFill>
          <a:blip r:embed="rId8"/>
          <a:stretch>
            <a:fillRect/>
          </a:stretch>
        </p:blipFill>
        <p:spPr>
          <a:xfrm>
            <a:off x="7024932" y="1758156"/>
            <a:ext cx="4198388" cy="4476464"/>
          </a:xfrm>
          <a:prstGeom prst="rect">
            <a:avLst/>
          </a:prstGeom>
        </p:spPr>
      </p:pic>
      <p:sp>
        <p:nvSpPr>
          <p:cNvPr id="12" name="Rectangle 11">
            <a:extLst>
              <a:ext uri="{FF2B5EF4-FFF2-40B4-BE49-F238E27FC236}">
                <a16:creationId xmlns:a16="http://schemas.microsoft.com/office/drawing/2014/main" id="{A0F64326-D204-4B79-96AA-8287A4B4E5EF}"/>
              </a:ext>
            </a:extLst>
          </p:cNvPr>
          <p:cNvSpPr/>
          <p:nvPr/>
        </p:nvSpPr>
        <p:spPr>
          <a:xfrm>
            <a:off x="7385452" y="6092765"/>
            <a:ext cx="4198388" cy="400110"/>
          </a:xfrm>
          <a:prstGeom prst="rect">
            <a:avLst/>
          </a:prstGeom>
        </p:spPr>
        <p:txBody>
          <a:bodyPr wrap="square">
            <a:spAutoFit/>
          </a:bodyPr>
          <a:lstStyle/>
          <a:p>
            <a:pPr lvl="0"/>
            <a:r>
              <a:rPr lang="en-US" sz="2000" dirty="0">
                <a:latin typeface="Tw Cen MT" panose="020B0602020104020603" pitchFamily="34" charset="0"/>
              </a:rPr>
              <a:t>portal.wsac.wa.gov/a/aid-calculator </a:t>
            </a:r>
            <a:endParaRPr lang="en-US" sz="2000" dirty="0"/>
          </a:p>
        </p:txBody>
      </p:sp>
    </p:spTree>
    <p:extLst>
      <p:ext uri="{BB962C8B-B14F-4D97-AF65-F5344CB8AC3E}">
        <p14:creationId xmlns:p14="http://schemas.microsoft.com/office/powerpoint/2010/main" val="3550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95400" y="255134"/>
            <a:ext cx="10660380" cy="1036850"/>
          </a:xfrm>
        </p:spPr>
        <p:txBody>
          <a:bodyPr>
            <a:noAutofit/>
          </a:bodyPr>
          <a:lstStyle/>
          <a:p>
            <a:r>
              <a:rPr lang="en-US" sz="4400" dirty="0">
                <a:latin typeface="Tw Cen MT Condensed Extra Bold" panose="020B0803020202020204" pitchFamily="34" charset="0"/>
              </a:rPr>
              <a:t>FAFSA/WASFA: Rule of One</a:t>
            </a:r>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4010637294"/>
              </p:ext>
            </p:extLst>
          </p:nvPr>
        </p:nvGraphicFramePr>
        <p:xfrm>
          <a:off x="965028" y="2532127"/>
          <a:ext cx="10261944" cy="3105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5502407" y="3586474"/>
            <a:ext cx="1131921" cy="584775"/>
          </a:xfrm>
          <a:prstGeom prst="rect">
            <a:avLst/>
          </a:prstGeom>
          <a:noFill/>
        </p:spPr>
        <p:txBody>
          <a:bodyPr wrap="square" rtlCol="0" anchor="ctr">
            <a:spAutoFit/>
          </a:bodyPr>
          <a:lstStyle/>
          <a:p>
            <a:pPr algn="ctr"/>
            <a:r>
              <a:rPr lang="en-US" sz="3200" b="1" u="sng" dirty="0">
                <a:latin typeface="+mj-lt"/>
              </a:rPr>
              <a:t>OR</a:t>
            </a:r>
            <a:endParaRPr lang="en-US" sz="3600" b="1" u="sng" dirty="0">
              <a:latin typeface="+mj-lt"/>
            </a:endParaRPr>
          </a:p>
        </p:txBody>
      </p:sp>
    </p:spTree>
    <p:extLst>
      <p:ext uri="{BB962C8B-B14F-4D97-AF65-F5344CB8AC3E}">
        <p14:creationId xmlns:p14="http://schemas.microsoft.com/office/powerpoint/2010/main" val="67114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0F7C42-F97F-4FC0-8AFC-CA4902E1A479}"/>
              </a:ext>
            </a:extLst>
          </p:cNvPr>
          <p:cNvSpPr>
            <a:spLocks noGrp="1"/>
          </p:cNvSpPr>
          <p:nvPr>
            <p:ph type="title"/>
          </p:nvPr>
        </p:nvSpPr>
        <p:spPr/>
        <p:txBody>
          <a:bodyPr>
            <a:normAutofit fontScale="90000"/>
          </a:bodyPr>
          <a:lstStyle/>
          <a:p>
            <a:r>
              <a:rPr lang="en-US" sz="4400" dirty="0"/>
              <a:t>Free Application for Federal Student Aid (FAFSA)</a:t>
            </a:r>
          </a:p>
        </p:txBody>
      </p:sp>
      <p:pic>
        <p:nvPicPr>
          <p:cNvPr id="1026" name="Picture 2" descr="https://www.collegeaidservices.net/wp-content/uploads/2018/07/Screen-Shot-2019-06-10-at-10.24.08-PM.png">
            <a:extLst>
              <a:ext uri="{FF2B5EF4-FFF2-40B4-BE49-F238E27FC236}">
                <a16:creationId xmlns:a16="http://schemas.microsoft.com/office/drawing/2014/main" id="{DC6B253C-7661-4655-B829-FBD2395BBB15}"/>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628227" y="1825625"/>
            <a:ext cx="8935545"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50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95400" y="255134"/>
            <a:ext cx="10567416" cy="1036850"/>
          </a:xfrm>
        </p:spPr>
        <p:txBody>
          <a:bodyPr>
            <a:normAutofit fontScale="90000"/>
          </a:bodyPr>
          <a:lstStyle/>
          <a:p>
            <a:r>
              <a:rPr lang="en-US" sz="4400" dirty="0"/>
              <a:t>About the Washington Student Achievement Council</a:t>
            </a:r>
          </a:p>
        </p:txBody>
      </p:sp>
      <p:sp>
        <p:nvSpPr>
          <p:cNvPr id="17" name="Slide Number Placeholder 16"/>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2E0E-C58D-45CD-BD69-23634E9A667D}" type="slidenum">
              <a:rPr kumimoji="0" lang="en-US" sz="1200" b="0" i="0" u="none" strike="noStrike" kern="1200" cap="none" spc="0" normalizeH="0" baseline="0" noProof="0" smtClean="0">
                <a:ln>
                  <a:noFill/>
                </a:ln>
                <a:solidFill>
                  <a:srgbClr val="44546A">
                    <a:lumMod val="75000"/>
                  </a:srgbClr>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44546A">
                  <a:lumMod val="75000"/>
                </a:srgbClr>
              </a:solidFill>
              <a:effectLst/>
              <a:uLnTx/>
              <a:uFillTx/>
              <a:latin typeface="Century Gothic" panose="020F0302020204030204"/>
              <a:ea typeface="+mn-ea"/>
              <a:cs typeface="+mn-cs"/>
            </a:endParaRPr>
          </a:p>
        </p:txBody>
      </p:sp>
      <p:sp>
        <p:nvSpPr>
          <p:cNvPr id="19" name="TextBox 18"/>
          <p:cNvSpPr txBox="1"/>
          <p:nvPr/>
        </p:nvSpPr>
        <p:spPr>
          <a:xfrm>
            <a:off x="3924137" y="3069412"/>
            <a:ext cx="7463192" cy="1077218"/>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mj-lt"/>
                <a:ea typeface="+mn-ea"/>
                <a:cs typeface="+mn-cs"/>
              </a:rPr>
              <a:t>We advance educational opportunities and attainment in Washington. </a:t>
            </a: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2887" t="10251" r="83764" b="13974"/>
          <a:stretch/>
        </p:blipFill>
        <p:spPr>
          <a:xfrm>
            <a:off x="268802" y="1690688"/>
            <a:ext cx="3655334" cy="4569170"/>
          </a:xfrm>
          <a:prstGeom prst="rect">
            <a:avLst/>
          </a:prstGeom>
        </p:spPr>
      </p:pic>
    </p:spTree>
    <p:extLst>
      <p:ext uri="{BB962C8B-B14F-4D97-AF65-F5344CB8AC3E}">
        <p14:creationId xmlns:p14="http://schemas.microsoft.com/office/powerpoint/2010/main" val="2230918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DC75201-62FB-467C-AD9D-08A284815132}"/>
              </a:ext>
            </a:extLst>
          </p:cNvPr>
          <p:cNvGraphicFramePr>
            <a:graphicFrameLocks noGrp="1"/>
          </p:cNvGraphicFramePr>
          <p:nvPr>
            <p:ph idx="1"/>
            <p:extLst>
              <p:ext uri="{D42A27DB-BD31-4B8C-83A1-F6EECF244321}">
                <p14:modId xmlns:p14="http://schemas.microsoft.com/office/powerpoint/2010/main" val="50225035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23938007-DEF8-4CBE-81C7-40C6171FFDDE}"/>
              </a:ext>
            </a:extLst>
          </p:cNvPr>
          <p:cNvSpPr>
            <a:spLocks noGrp="1"/>
          </p:cNvSpPr>
          <p:nvPr>
            <p:ph type="title"/>
          </p:nvPr>
        </p:nvSpPr>
        <p:spPr/>
        <p:txBody>
          <a:bodyPr>
            <a:normAutofit/>
          </a:bodyPr>
          <a:lstStyle/>
          <a:p>
            <a:r>
              <a:rPr lang="en-US" sz="4400" dirty="0"/>
              <a:t>Two Ways to Apply for the FAFSA</a:t>
            </a:r>
          </a:p>
        </p:txBody>
      </p:sp>
    </p:spTree>
    <p:extLst>
      <p:ext uri="{BB962C8B-B14F-4D97-AF65-F5344CB8AC3E}">
        <p14:creationId xmlns:p14="http://schemas.microsoft.com/office/powerpoint/2010/main" val="15626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960EDC8E-6B64-4EE5-9A5E-B7AEA31B3AD1}"/>
              </a:ext>
            </a:extLst>
          </p:cNvPr>
          <p:cNvGraphicFramePr>
            <a:graphicFrameLocks noGrp="1"/>
          </p:cNvGraphicFramePr>
          <p:nvPr>
            <p:ph idx="1"/>
            <p:extLst>
              <p:ext uri="{D42A27DB-BD31-4B8C-83A1-F6EECF244321}">
                <p14:modId xmlns:p14="http://schemas.microsoft.com/office/powerpoint/2010/main" val="333492271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9431D4C5-198F-4321-9DA0-96E8DFB6EC60}"/>
              </a:ext>
            </a:extLst>
          </p:cNvPr>
          <p:cNvSpPr>
            <a:spLocks noGrp="1"/>
          </p:cNvSpPr>
          <p:nvPr>
            <p:ph type="title"/>
          </p:nvPr>
        </p:nvSpPr>
        <p:spPr/>
        <p:txBody>
          <a:bodyPr>
            <a:normAutofit/>
          </a:bodyPr>
          <a:lstStyle/>
          <a:p>
            <a:r>
              <a:rPr lang="en-US" sz="4400" dirty="0"/>
              <a:t>FAFSA Website Language Options</a:t>
            </a:r>
          </a:p>
        </p:txBody>
      </p:sp>
    </p:spTree>
    <p:extLst>
      <p:ext uri="{BB962C8B-B14F-4D97-AF65-F5344CB8AC3E}">
        <p14:creationId xmlns:p14="http://schemas.microsoft.com/office/powerpoint/2010/main" val="952930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t>FSA ID – The First Step to the FAFSA </a:t>
            </a:r>
          </a:p>
        </p:txBody>
      </p:sp>
      <p:pic>
        <p:nvPicPr>
          <p:cNvPr id="4" name="Picture 3">
            <a:extLst>
              <a:ext uri="{FF2B5EF4-FFF2-40B4-BE49-F238E27FC236}">
                <a16:creationId xmlns:a16="http://schemas.microsoft.com/office/drawing/2014/main" id="{3D4BC6B1-A4B0-4503-B57F-D1ED84C51F27}"/>
              </a:ext>
            </a:extLst>
          </p:cNvPr>
          <p:cNvPicPr>
            <a:picLocks noChangeAspect="1"/>
          </p:cNvPicPr>
          <p:nvPr/>
        </p:nvPicPr>
        <p:blipFill>
          <a:blip r:embed="rId3"/>
          <a:stretch>
            <a:fillRect/>
          </a:stretch>
        </p:blipFill>
        <p:spPr>
          <a:xfrm>
            <a:off x="4056590" y="1625373"/>
            <a:ext cx="4125301" cy="5132556"/>
          </a:xfrm>
          <a:prstGeom prst="rect">
            <a:avLst/>
          </a:prstGeom>
        </p:spPr>
      </p:pic>
      <p:sp>
        <p:nvSpPr>
          <p:cNvPr id="5" name="Right Arrow 4"/>
          <p:cNvSpPr/>
          <p:nvPr/>
        </p:nvSpPr>
        <p:spPr>
          <a:xfrm rot="9748345">
            <a:off x="6609444" y="5695012"/>
            <a:ext cx="969818" cy="426027"/>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1AA0479D-9CD3-43AB-ACD8-4B2839977099}"/>
              </a:ext>
            </a:extLst>
          </p:cNvPr>
          <p:cNvPicPr>
            <a:picLocks noChangeAspect="1"/>
          </p:cNvPicPr>
          <p:nvPr/>
        </p:nvPicPr>
        <p:blipFill rotWithShape="1">
          <a:blip r:embed="rId4"/>
          <a:srcRect r="23446"/>
          <a:stretch/>
        </p:blipFill>
        <p:spPr>
          <a:xfrm>
            <a:off x="8246345" y="1625373"/>
            <a:ext cx="3676182" cy="5132556"/>
          </a:xfrm>
          <a:prstGeom prst="rect">
            <a:avLst/>
          </a:prstGeom>
        </p:spPr>
      </p:pic>
      <p:graphicFrame>
        <p:nvGraphicFramePr>
          <p:cNvPr id="3" name="Diagram 2">
            <a:extLst>
              <a:ext uri="{FF2B5EF4-FFF2-40B4-BE49-F238E27FC236}">
                <a16:creationId xmlns:a16="http://schemas.microsoft.com/office/drawing/2014/main" id="{12EEA855-CFB9-43F1-AD18-A39652A322DB}"/>
              </a:ext>
            </a:extLst>
          </p:cNvPr>
          <p:cNvGraphicFramePr/>
          <p:nvPr/>
        </p:nvGraphicFramePr>
        <p:xfrm>
          <a:off x="-551719" y="1873480"/>
          <a:ext cx="5217886" cy="438370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95345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3A4-FEBE-40DE-BC59-10895A4654C5}"/>
              </a:ext>
            </a:extLst>
          </p:cNvPr>
          <p:cNvSpPr>
            <a:spLocks noGrp="1"/>
          </p:cNvSpPr>
          <p:nvPr>
            <p:ph type="title"/>
          </p:nvPr>
        </p:nvSpPr>
        <p:spPr>
          <a:xfrm>
            <a:off x="1169376" y="255134"/>
            <a:ext cx="10955215" cy="1036850"/>
          </a:xfrm>
        </p:spPr>
        <p:txBody>
          <a:bodyPr>
            <a:noAutofit/>
          </a:bodyPr>
          <a:lstStyle/>
          <a:p>
            <a:r>
              <a:rPr lang="en-US" sz="4000" dirty="0"/>
              <a:t>Washington Application for State Financial Aid (WASFA)</a:t>
            </a:r>
          </a:p>
        </p:txBody>
      </p:sp>
      <p:sp>
        <p:nvSpPr>
          <p:cNvPr id="3" name="Content Placeholder 2">
            <a:extLst>
              <a:ext uri="{FF2B5EF4-FFF2-40B4-BE49-F238E27FC236}">
                <a16:creationId xmlns:a16="http://schemas.microsoft.com/office/drawing/2014/main" id="{072D6B64-694F-45DD-BA2C-F99FBE672DFE}"/>
              </a:ext>
            </a:extLst>
          </p:cNvPr>
          <p:cNvSpPr>
            <a:spLocks noGrp="1"/>
          </p:cNvSpPr>
          <p:nvPr>
            <p:ph idx="1"/>
          </p:nvPr>
        </p:nvSpPr>
        <p:spPr>
          <a:xfrm>
            <a:off x="1295400" y="5947888"/>
            <a:ext cx="9601200" cy="654978"/>
          </a:xfrm>
        </p:spPr>
        <p:txBody>
          <a:bodyPr/>
          <a:lstStyle/>
          <a:p>
            <a:pPr marL="0" indent="0" algn="ctr">
              <a:buNone/>
            </a:pPr>
            <a:r>
              <a:rPr lang="en-US" u="sng" dirty="0">
                <a:hlinkClick r:id="rId3"/>
              </a:rPr>
              <a:t>https://wsac.wa.gov/WASFA</a:t>
            </a:r>
            <a:endParaRPr lang="en-US" dirty="0"/>
          </a:p>
        </p:txBody>
      </p:sp>
      <p:pic>
        <p:nvPicPr>
          <p:cNvPr id="6" name="Picture 5">
            <a:extLst>
              <a:ext uri="{FF2B5EF4-FFF2-40B4-BE49-F238E27FC236}">
                <a16:creationId xmlns:a16="http://schemas.microsoft.com/office/drawing/2014/main" id="{D02B5984-669E-44FD-A461-7BF6196FF45F}"/>
              </a:ext>
            </a:extLst>
          </p:cNvPr>
          <p:cNvPicPr>
            <a:picLocks noChangeAspect="1"/>
          </p:cNvPicPr>
          <p:nvPr/>
        </p:nvPicPr>
        <p:blipFill rotWithShape="1">
          <a:blip r:embed="rId4"/>
          <a:srcRect r="1249" b="11287"/>
          <a:stretch/>
        </p:blipFill>
        <p:spPr>
          <a:xfrm>
            <a:off x="679449" y="1531013"/>
            <a:ext cx="10833101" cy="4515286"/>
          </a:xfrm>
          <a:prstGeom prst="rect">
            <a:avLst/>
          </a:prstGeom>
        </p:spPr>
      </p:pic>
      <p:sp>
        <p:nvSpPr>
          <p:cNvPr id="5" name="Arrow: Right 4">
            <a:extLst>
              <a:ext uri="{FF2B5EF4-FFF2-40B4-BE49-F238E27FC236}">
                <a16:creationId xmlns:a16="http://schemas.microsoft.com/office/drawing/2014/main" id="{34BA052D-C5F2-4F58-8FC2-3EFD672451C6}"/>
              </a:ext>
            </a:extLst>
          </p:cNvPr>
          <p:cNvSpPr/>
          <p:nvPr/>
        </p:nvSpPr>
        <p:spPr>
          <a:xfrm rot="11652415">
            <a:off x="1105724" y="5822915"/>
            <a:ext cx="1160980" cy="446769"/>
          </a:xfrm>
          <a:prstGeom prst="rightArrow">
            <a:avLst>
              <a:gd name="adj1" fmla="val 42244"/>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8078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3A4-FEBE-40DE-BC59-10895A4654C5}"/>
              </a:ext>
            </a:extLst>
          </p:cNvPr>
          <p:cNvSpPr>
            <a:spLocks noGrp="1"/>
          </p:cNvSpPr>
          <p:nvPr>
            <p:ph type="title"/>
          </p:nvPr>
        </p:nvSpPr>
        <p:spPr>
          <a:xfrm>
            <a:off x="1169376" y="255134"/>
            <a:ext cx="10955215" cy="1036850"/>
          </a:xfrm>
        </p:spPr>
        <p:txBody>
          <a:bodyPr>
            <a:noAutofit/>
          </a:bodyPr>
          <a:lstStyle/>
          <a:p>
            <a:r>
              <a:rPr lang="en-US" sz="4000" dirty="0"/>
              <a:t>WASFA Account Creation – The First Step to the WASFA </a:t>
            </a:r>
          </a:p>
        </p:txBody>
      </p:sp>
      <p:pic>
        <p:nvPicPr>
          <p:cNvPr id="9" name="Picture 8">
            <a:extLst>
              <a:ext uri="{FF2B5EF4-FFF2-40B4-BE49-F238E27FC236}">
                <a16:creationId xmlns:a16="http://schemas.microsoft.com/office/drawing/2014/main" id="{BA06DCE3-D3B1-4332-84E9-5D4B2B4EC863}"/>
              </a:ext>
            </a:extLst>
          </p:cNvPr>
          <p:cNvPicPr>
            <a:picLocks noChangeAspect="1"/>
          </p:cNvPicPr>
          <p:nvPr/>
        </p:nvPicPr>
        <p:blipFill rotWithShape="1">
          <a:blip r:embed="rId3"/>
          <a:srcRect r="35180"/>
          <a:stretch/>
        </p:blipFill>
        <p:spPr>
          <a:xfrm>
            <a:off x="5796223" y="1668780"/>
            <a:ext cx="6022397" cy="4934086"/>
          </a:xfrm>
          <a:prstGeom prst="rect">
            <a:avLst/>
          </a:prstGeom>
        </p:spPr>
      </p:pic>
      <p:graphicFrame>
        <p:nvGraphicFramePr>
          <p:cNvPr id="12" name="Diagram 11">
            <a:extLst>
              <a:ext uri="{FF2B5EF4-FFF2-40B4-BE49-F238E27FC236}">
                <a16:creationId xmlns:a16="http://schemas.microsoft.com/office/drawing/2014/main" id="{BC8E5469-8CB8-4215-BD34-7362A62C5DBA}"/>
              </a:ext>
            </a:extLst>
          </p:cNvPr>
          <p:cNvGraphicFramePr/>
          <p:nvPr/>
        </p:nvGraphicFramePr>
        <p:xfrm>
          <a:off x="373380" y="1943969"/>
          <a:ext cx="5217886" cy="43837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7285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DA43B-6F08-4141-9A38-C866AE6B3CA9}"/>
              </a:ext>
            </a:extLst>
          </p:cNvPr>
          <p:cNvSpPr>
            <a:spLocks noGrp="1"/>
          </p:cNvSpPr>
          <p:nvPr>
            <p:ph type="title"/>
          </p:nvPr>
        </p:nvSpPr>
        <p:spPr/>
        <p:txBody>
          <a:bodyPr>
            <a:normAutofit/>
          </a:bodyPr>
          <a:lstStyle/>
          <a:p>
            <a:r>
              <a:rPr lang="en-US" sz="4400" b="1" dirty="0">
                <a:latin typeface="Tw Cen MT Condensed" panose="020B0606020104020203" pitchFamily="34" charset="0"/>
              </a:rPr>
              <a:t>Is a Student Dependent or Independent* </a:t>
            </a:r>
          </a:p>
        </p:txBody>
      </p:sp>
      <p:sp>
        <p:nvSpPr>
          <p:cNvPr id="3" name="Text Placeholder 2">
            <a:extLst>
              <a:ext uri="{FF2B5EF4-FFF2-40B4-BE49-F238E27FC236}">
                <a16:creationId xmlns:a16="http://schemas.microsoft.com/office/drawing/2014/main" id="{54B5EF4E-30E0-44F5-8F8A-DDA20E6145AF}"/>
              </a:ext>
            </a:extLst>
          </p:cNvPr>
          <p:cNvSpPr>
            <a:spLocks noGrp="1"/>
          </p:cNvSpPr>
          <p:nvPr>
            <p:ph type="body" idx="1"/>
          </p:nvPr>
        </p:nvSpPr>
        <p:spPr>
          <a:xfrm>
            <a:off x="952500" y="1828800"/>
            <a:ext cx="3937000" cy="850392"/>
          </a:xfrm>
        </p:spPr>
        <p:txBody>
          <a:bodyPr>
            <a:normAutofit fontScale="92500" lnSpcReduction="20000"/>
          </a:bodyPr>
          <a:lstStyle/>
          <a:p>
            <a:r>
              <a:rPr lang="en-US" u="sng" dirty="0"/>
              <a:t>Dependent Student</a:t>
            </a:r>
          </a:p>
          <a:p>
            <a:r>
              <a:rPr lang="en-US" dirty="0"/>
              <a:t>Requires Parent Information</a:t>
            </a:r>
          </a:p>
        </p:txBody>
      </p:sp>
      <p:sp>
        <p:nvSpPr>
          <p:cNvPr id="4" name="Content Placeholder 3">
            <a:extLst>
              <a:ext uri="{FF2B5EF4-FFF2-40B4-BE49-F238E27FC236}">
                <a16:creationId xmlns:a16="http://schemas.microsoft.com/office/drawing/2014/main" id="{6EAD022D-B478-4029-A58C-F35BB6B3EBFF}"/>
              </a:ext>
            </a:extLst>
          </p:cNvPr>
          <p:cNvSpPr>
            <a:spLocks noGrp="1"/>
          </p:cNvSpPr>
          <p:nvPr>
            <p:ph sz="half" idx="2"/>
          </p:nvPr>
        </p:nvSpPr>
        <p:spPr>
          <a:xfrm>
            <a:off x="952500" y="2768600"/>
            <a:ext cx="3028485" cy="3834266"/>
          </a:xfrm>
        </p:spPr>
        <p:txBody>
          <a:bodyPr>
            <a:normAutofit fontScale="92500" lnSpcReduction="10000"/>
          </a:bodyPr>
          <a:lstStyle/>
          <a:p>
            <a:pPr marL="0" indent="0">
              <a:buNone/>
            </a:pPr>
            <a:r>
              <a:rPr lang="en-US" sz="2600" dirty="0"/>
              <a:t>A student who does not meet any of the criteria for an independent student</a:t>
            </a:r>
          </a:p>
          <a:p>
            <a:pPr marL="0" indent="0">
              <a:buNone/>
            </a:pPr>
            <a:endParaRPr lang="en-US" sz="2600" dirty="0"/>
          </a:p>
          <a:p>
            <a:pPr marL="0" indent="0">
              <a:buNone/>
            </a:pPr>
            <a:endParaRPr lang="en-US" sz="2600" dirty="0"/>
          </a:p>
          <a:p>
            <a:pPr marL="0" indent="0">
              <a:buNone/>
            </a:pPr>
            <a:endParaRPr lang="en-US" sz="2600" dirty="0"/>
          </a:p>
          <a:p>
            <a:pPr marL="0" indent="0">
              <a:buNone/>
            </a:pPr>
            <a:r>
              <a:rPr lang="en-US" sz="2600" dirty="0"/>
              <a:t>*for financial aid purposes</a:t>
            </a:r>
          </a:p>
          <a:p>
            <a:pPr marL="0" indent="0">
              <a:buNone/>
            </a:pPr>
            <a:endParaRPr lang="en-US" dirty="0"/>
          </a:p>
        </p:txBody>
      </p:sp>
      <p:sp>
        <p:nvSpPr>
          <p:cNvPr id="5" name="Text Placeholder 4">
            <a:extLst>
              <a:ext uri="{FF2B5EF4-FFF2-40B4-BE49-F238E27FC236}">
                <a16:creationId xmlns:a16="http://schemas.microsoft.com/office/drawing/2014/main" id="{8D6B5505-13B0-4173-8B39-43FB8B1D111C}"/>
              </a:ext>
            </a:extLst>
          </p:cNvPr>
          <p:cNvSpPr>
            <a:spLocks noGrp="1"/>
          </p:cNvSpPr>
          <p:nvPr>
            <p:ph type="body" sz="quarter" idx="3"/>
          </p:nvPr>
        </p:nvSpPr>
        <p:spPr>
          <a:xfrm>
            <a:off x="5029200" y="1828800"/>
            <a:ext cx="5867400" cy="847725"/>
          </a:xfrm>
        </p:spPr>
        <p:txBody>
          <a:bodyPr>
            <a:normAutofit fontScale="92500" lnSpcReduction="20000"/>
          </a:bodyPr>
          <a:lstStyle/>
          <a:p>
            <a:r>
              <a:rPr lang="en-US" u="sng" dirty="0"/>
              <a:t>Independent Student</a:t>
            </a:r>
          </a:p>
          <a:p>
            <a:r>
              <a:rPr lang="en-US" dirty="0"/>
              <a:t>Does Not Require Parent Information</a:t>
            </a:r>
          </a:p>
        </p:txBody>
      </p:sp>
      <p:sp>
        <p:nvSpPr>
          <p:cNvPr id="6" name="Content Placeholder 5">
            <a:extLst>
              <a:ext uri="{FF2B5EF4-FFF2-40B4-BE49-F238E27FC236}">
                <a16:creationId xmlns:a16="http://schemas.microsoft.com/office/drawing/2014/main" id="{E45902AD-1134-4B8A-A38B-6E09B70E6227}"/>
              </a:ext>
            </a:extLst>
          </p:cNvPr>
          <p:cNvSpPr>
            <a:spLocks noGrp="1"/>
          </p:cNvSpPr>
          <p:nvPr>
            <p:ph sz="quarter" idx="4"/>
          </p:nvPr>
        </p:nvSpPr>
        <p:spPr>
          <a:xfrm>
            <a:off x="5029200" y="2768600"/>
            <a:ext cx="6858000" cy="3576444"/>
          </a:xfrm>
        </p:spPr>
        <p:txBody>
          <a:bodyPr>
            <a:noAutofit/>
          </a:bodyPr>
          <a:lstStyle/>
          <a:p>
            <a:pPr marL="0" indent="0">
              <a:spcBef>
                <a:spcPts val="0"/>
              </a:spcBef>
              <a:buNone/>
            </a:pPr>
            <a:r>
              <a:rPr lang="en-US" dirty="0"/>
              <a:t>An independent student is one of the following: </a:t>
            </a:r>
          </a:p>
          <a:p>
            <a:pPr>
              <a:spcBef>
                <a:spcPts val="0"/>
              </a:spcBef>
            </a:pPr>
            <a:r>
              <a:rPr lang="en-US" dirty="0"/>
              <a:t>at least 24 years old</a:t>
            </a:r>
          </a:p>
          <a:p>
            <a:pPr>
              <a:spcBef>
                <a:spcPts val="0"/>
              </a:spcBef>
            </a:pPr>
            <a:r>
              <a:rPr lang="en-US" dirty="0"/>
              <a:t>married</a:t>
            </a:r>
          </a:p>
          <a:p>
            <a:pPr>
              <a:spcBef>
                <a:spcPts val="0"/>
              </a:spcBef>
            </a:pPr>
            <a:r>
              <a:rPr lang="en-US" dirty="0"/>
              <a:t>a graduate or professional student</a:t>
            </a:r>
          </a:p>
          <a:p>
            <a:pPr>
              <a:spcBef>
                <a:spcPts val="0"/>
              </a:spcBef>
            </a:pPr>
            <a:r>
              <a:rPr lang="en-US" dirty="0"/>
              <a:t>a veteran</a:t>
            </a:r>
          </a:p>
          <a:p>
            <a:pPr>
              <a:spcBef>
                <a:spcPts val="0"/>
              </a:spcBef>
            </a:pPr>
            <a:r>
              <a:rPr lang="en-US" dirty="0"/>
              <a:t>a member of the armed forces</a:t>
            </a:r>
          </a:p>
          <a:p>
            <a:pPr>
              <a:spcBef>
                <a:spcPts val="0"/>
              </a:spcBef>
            </a:pPr>
            <a:r>
              <a:rPr lang="en-US" dirty="0"/>
              <a:t>an orphan</a:t>
            </a:r>
          </a:p>
          <a:p>
            <a:pPr>
              <a:spcBef>
                <a:spcPts val="0"/>
              </a:spcBef>
            </a:pPr>
            <a:r>
              <a:rPr lang="en-US" dirty="0"/>
              <a:t>a ward of the court</a:t>
            </a:r>
          </a:p>
          <a:p>
            <a:pPr>
              <a:spcBef>
                <a:spcPts val="0"/>
              </a:spcBef>
            </a:pPr>
            <a:r>
              <a:rPr lang="en-US" dirty="0"/>
              <a:t>someone with legal dependents other than a spouse</a:t>
            </a:r>
          </a:p>
          <a:p>
            <a:pPr>
              <a:spcBef>
                <a:spcPts val="0"/>
              </a:spcBef>
            </a:pPr>
            <a:r>
              <a:rPr lang="en-US" dirty="0"/>
              <a:t>an emancipated minor</a:t>
            </a:r>
          </a:p>
          <a:p>
            <a:pPr>
              <a:spcBef>
                <a:spcPts val="0"/>
              </a:spcBef>
            </a:pPr>
            <a:r>
              <a:rPr lang="en-US" dirty="0"/>
              <a:t>someone who is homeless or at risk of becoming homeless and self supporting</a:t>
            </a:r>
          </a:p>
        </p:txBody>
      </p:sp>
    </p:spTree>
    <p:extLst>
      <p:ext uri="{BB962C8B-B14F-4D97-AF65-F5344CB8AC3E}">
        <p14:creationId xmlns:p14="http://schemas.microsoft.com/office/powerpoint/2010/main" val="294356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F04ED-EA81-46E7-B732-CC09F92C4A58}"/>
              </a:ext>
            </a:extLst>
          </p:cNvPr>
          <p:cNvSpPr>
            <a:spLocks noGrp="1"/>
          </p:cNvSpPr>
          <p:nvPr>
            <p:ph type="title"/>
          </p:nvPr>
        </p:nvSpPr>
        <p:spPr/>
        <p:txBody>
          <a:bodyPr>
            <a:normAutofit/>
          </a:bodyPr>
          <a:lstStyle/>
          <a:p>
            <a:r>
              <a:rPr lang="en-US" sz="4400" dirty="0"/>
              <a:t>What Do I Need to Apply for Financial Aid</a:t>
            </a:r>
          </a:p>
        </p:txBody>
      </p:sp>
      <p:graphicFrame>
        <p:nvGraphicFramePr>
          <p:cNvPr id="4" name="Content Placeholder 3">
            <a:extLst>
              <a:ext uri="{FF2B5EF4-FFF2-40B4-BE49-F238E27FC236}">
                <a16:creationId xmlns:a16="http://schemas.microsoft.com/office/drawing/2014/main" id="{BAD2A9A8-C598-42A8-A760-7997EA065CE5}"/>
              </a:ext>
            </a:extLst>
          </p:cNvPr>
          <p:cNvGraphicFramePr>
            <a:graphicFrameLocks noGrp="1"/>
          </p:cNvGraphicFramePr>
          <p:nvPr>
            <p:ph idx="1"/>
            <p:extLst>
              <p:ext uri="{D42A27DB-BD31-4B8C-83A1-F6EECF244321}">
                <p14:modId xmlns:p14="http://schemas.microsoft.com/office/powerpoint/2010/main" val="1767613267"/>
              </p:ext>
            </p:extLst>
          </p:nvPr>
        </p:nvGraphicFramePr>
        <p:xfrm>
          <a:off x="254833" y="1633928"/>
          <a:ext cx="11452485" cy="4968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527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560EC-22C3-4C12-A324-0EA6AA0AFB62}"/>
              </a:ext>
            </a:extLst>
          </p:cNvPr>
          <p:cNvSpPr>
            <a:spLocks noGrp="1"/>
          </p:cNvSpPr>
          <p:nvPr>
            <p:ph type="title"/>
          </p:nvPr>
        </p:nvSpPr>
        <p:spPr/>
        <p:txBody>
          <a:bodyPr>
            <a:normAutofit/>
          </a:bodyPr>
          <a:lstStyle/>
          <a:p>
            <a:r>
              <a:rPr lang="en-US" sz="4000" dirty="0"/>
              <a:t>CSS Profile</a:t>
            </a:r>
          </a:p>
        </p:txBody>
      </p:sp>
      <p:sp>
        <p:nvSpPr>
          <p:cNvPr id="3" name="Content Placeholder 2">
            <a:extLst>
              <a:ext uri="{FF2B5EF4-FFF2-40B4-BE49-F238E27FC236}">
                <a16:creationId xmlns:a16="http://schemas.microsoft.com/office/drawing/2014/main" id="{4D9537A9-5131-47CB-8004-60FF915EA2DA}"/>
              </a:ext>
            </a:extLst>
          </p:cNvPr>
          <p:cNvSpPr>
            <a:spLocks noGrp="1"/>
          </p:cNvSpPr>
          <p:nvPr>
            <p:ph idx="1"/>
          </p:nvPr>
        </p:nvSpPr>
        <p:spPr>
          <a:xfrm>
            <a:off x="6689558" y="1828800"/>
            <a:ext cx="4957010" cy="4343400"/>
          </a:xfrm>
        </p:spPr>
        <p:txBody>
          <a:bodyPr>
            <a:normAutofit fontScale="85000" lnSpcReduction="20000"/>
          </a:bodyPr>
          <a:lstStyle/>
          <a:p>
            <a:pPr marL="0" indent="0" algn="ctr">
              <a:buNone/>
            </a:pPr>
            <a:r>
              <a:rPr lang="en-US" dirty="0"/>
              <a:t>Additional profile that some colleges use to award institutional aid.</a:t>
            </a:r>
          </a:p>
          <a:p>
            <a:pPr marL="0" indent="0" algn="ctr">
              <a:buNone/>
            </a:pPr>
            <a:endParaRPr lang="en-US" dirty="0"/>
          </a:p>
          <a:p>
            <a:pPr marL="0" indent="0" algn="ctr">
              <a:buNone/>
            </a:pPr>
            <a:r>
              <a:rPr lang="en-US" dirty="0"/>
              <a:t>The CSS Profile is free for domestic undergraduate students whose family income is up to $100,000. The fee for the initial application is $25. Additional reports are $16. </a:t>
            </a:r>
          </a:p>
          <a:p>
            <a:pPr marL="0" indent="0" algn="ctr">
              <a:buNone/>
            </a:pPr>
            <a:endParaRPr lang="en-US" dirty="0"/>
          </a:p>
        </p:txBody>
      </p:sp>
      <p:pic>
        <p:nvPicPr>
          <p:cNvPr id="5" name="Picture 4">
            <a:extLst>
              <a:ext uri="{FF2B5EF4-FFF2-40B4-BE49-F238E27FC236}">
                <a16:creationId xmlns:a16="http://schemas.microsoft.com/office/drawing/2014/main" id="{3B31C8F6-C87E-447B-B67D-DA1A23D975F5}"/>
              </a:ext>
            </a:extLst>
          </p:cNvPr>
          <p:cNvPicPr>
            <a:picLocks noChangeAspect="1"/>
          </p:cNvPicPr>
          <p:nvPr/>
        </p:nvPicPr>
        <p:blipFill>
          <a:blip r:embed="rId3"/>
          <a:stretch>
            <a:fillRect/>
          </a:stretch>
        </p:blipFill>
        <p:spPr>
          <a:xfrm>
            <a:off x="356866" y="1828800"/>
            <a:ext cx="5931428" cy="3380874"/>
          </a:xfrm>
          <a:prstGeom prst="rect">
            <a:avLst/>
          </a:prstGeom>
        </p:spPr>
      </p:pic>
      <p:sp>
        <p:nvSpPr>
          <p:cNvPr id="7" name="TextBox 6">
            <a:extLst>
              <a:ext uri="{FF2B5EF4-FFF2-40B4-BE49-F238E27FC236}">
                <a16:creationId xmlns:a16="http://schemas.microsoft.com/office/drawing/2014/main" id="{6DBFF19E-F75A-4E5B-9CBE-D40113631730}"/>
              </a:ext>
            </a:extLst>
          </p:cNvPr>
          <p:cNvSpPr txBox="1"/>
          <p:nvPr/>
        </p:nvSpPr>
        <p:spPr>
          <a:xfrm>
            <a:off x="275583" y="5561824"/>
            <a:ext cx="6093994" cy="584775"/>
          </a:xfrm>
          <a:prstGeom prst="rect">
            <a:avLst/>
          </a:prstGeom>
          <a:noFill/>
        </p:spPr>
        <p:txBody>
          <a:bodyPr wrap="square">
            <a:spAutoFit/>
          </a:bodyPr>
          <a:lstStyle/>
          <a:p>
            <a:r>
              <a:rPr lang="en-US" sz="3200" dirty="0">
                <a:latin typeface="+mj-lt"/>
              </a:rPr>
              <a:t>https://cssprofile.collegeboard.org/</a:t>
            </a:r>
          </a:p>
        </p:txBody>
      </p:sp>
    </p:spTree>
    <p:extLst>
      <p:ext uri="{BB962C8B-B14F-4D97-AF65-F5344CB8AC3E}">
        <p14:creationId xmlns:p14="http://schemas.microsoft.com/office/powerpoint/2010/main" val="859092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D2116-9B0F-4ABD-9938-0C72B57397B1}"/>
              </a:ext>
            </a:extLst>
          </p:cNvPr>
          <p:cNvSpPr>
            <a:spLocks noGrp="1"/>
          </p:cNvSpPr>
          <p:nvPr>
            <p:ph type="title"/>
          </p:nvPr>
        </p:nvSpPr>
        <p:spPr/>
        <p:txBody>
          <a:bodyPr>
            <a:normAutofit/>
          </a:bodyPr>
          <a:lstStyle/>
          <a:p>
            <a:r>
              <a:rPr lang="en-US" sz="4400"/>
              <a:t>Financial Aid Timeline</a:t>
            </a:r>
          </a:p>
        </p:txBody>
      </p:sp>
      <p:graphicFrame>
        <p:nvGraphicFramePr>
          <p:cNvPr id="4" name="Content Placeholder 3">
            <a:extLst>
              <a:ext uri="{FF2B5EF4-FFF2-40B4-BE49-F238E27FC236}">
                <a16:creationId xmlns:a16="http://schemas.microsoft.com/office/drawing/2014/main" id="{00BFE071-297F-4C46-AD83-E2231DCDECDA}"/>
              </a:ext>
            </a:extLst>
          </p:cNvPr>
          <p:cNvGraphicFramePr>
            <a:graphicFrameLocks noGrp="1"/>
          </p:cNvGraphicFramePr>
          <p:nvPr>
            <p:ph idx="1"/>
            <p:extLst>
              <p:ext uri="{D42A27DB-BD31-4B8C-83A1-F6EECF244321}">
                <p14:modId xmlns:p14="http://schemas.microsoft.com/office/powerpoint/2010/main" val="2217398337"/>
              </p:ext>
            </p:extLst>
          </p:nvPr>
        </p:nvGraphicFramePr>
        <p:xfrm>
          <a:off x="1295400" y="1828800"/>
          <a:ext cx="10111154" cy="47740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7672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832594" y="5398128"/>
            <a:ext cx="2431420" cy="830997"/>
          </a:xfrm>
          <a:prstGeom prst="rect">
            <a:avLst/>
          </a:prstGeom>
          <a:noFill/>
        </p:spPr>
        <p:txBody>
          <a:bodyPr wrap="square" rtlCol="0">
            <a:spAutoFit/>
          </a:bodyPr>
          <a:lstStyle/>
          <a:p>
            <a:r>
              <a:rPr lang="en-US" sz="4800">
                <a:solidFill>
                  <a:schemeClr val="bg1"/>
                </a:solidFill>
                <a:latin typeface="Tw Cen MT Condensed" panose="020B0606020104020203" pitchFamily="34" charset="0"/>
              </a:rPr>
              <a:t>OR WASFA</a:t>
            </a:r>
          </a:p>
        </p:txBody>
      </p:sp>
      <p:sp>
        <p:nvSpPr>
          <p:cNvPr id="10" name="Title 2"/>
          <p:cNvSpPr txBox="1">
            <a:spLocks/>
          </p:cNvSpPr>
          <p:nvPr/>
        </p:nvSpPr>
        <p:spPr>
          <a:xfrm>
            <a:off x="1272251" y="267199"/>
            <a:ext cx="10660380" cy="103685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r>
              <a:rPr lang="en-US" sz="4800" dirty="0">
                <a:latin typeface="Tw Cen MT Condensed Extra Bold" panose="020B0803020202020204" pitchFamily="34" charset="0"/>
              </a:rPr>
              <a:t>Important Information for the Class of 2024 </a:t>
            </a:r>
          </a:p>
        </p:txBody>
      </p:sp>
      <p:graphicFrame>
        <p:nvGraphicFramePr>
          <p:cNvPr id="2" name="Diagram 1">
            <a:extLst>
              <a:ext uri="{FF2B5EF4-FFF2-40B4-BE49-F238E27FC236}">
                <a16:creationId xmlns:a16="http://schemas.microsoft.com/office/drawing/2014/main" id="{615B4F7E-243B-5257-D9CF-655759582282}"/>
              </a:ext>
            </a:extLst>
          </p:cNvPr>
          <p:cNvGraphicFramePr/>
          <p:nvPr/>
        </p:nvGraphicFramePr>
        <p:xfrm>
          <a:off x="971341" y="1557494"/>
          <a:ext cx="10249318" cy="3064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991AA783-112E-0C0D-92FB-57CC9E4F0A87}"/>
              </a:ext>
            </a:extLst>
          </p:cNvPr>
          <p:cNvPicPr>
            <a:picLocks noChangeAspect="1"/>
          </p:cNvPicPr>
          <p:nvPr/>
        </p:nvPicPr>
        <p:blipFill>
          <a:blip r:embed="rId8"/>
          <a:stretch>
            <a:fillRect/>
          </a:stretch>
        </p:blipFill>
        <p:spPr>
          <a:xfrm>
            <a:off x="5515192" y="4136308"/>
            <a:ext cx="1161615" cy="1985374"/>
          </a:xfrm>
          <a:prstGeom prst="rect">
            <a:avLst/>
          </a:prstGeom>
        </p:spPr>
      </p:pic>
      <p:pic>
        <p:nvPicPr>
          <p:cNvPr id="12" name="Picture 11">
            <a:extLst>
              <a:ext uri="{FF2B5EF4-FFF2-40B4-BE49-F238E27FC236}">
                <a16:creationId xmlns:a16="http://schemas.microsoft.com/office/drawing/2014/main" id="{25D9046E-C8AD-B529-DE37-E3A91446668D}"/>
              </a:ext>
            </a:extLst>
          </p:cNvPr>
          <p:cNvPicPr>
            <a:picLocks noChangeAspect="1"/>
          </p:cNvPicPr>
          <p:nvPr/>
        </p:nvPicPr>
        <p:blipFill>
          <a:blip r:embed="rId9"/>
          <a:stretch>
            <a:fillRect/>
          </a:stretch>
        </p:blipFill>
        <p:spPr>
          <a:xfrm>
            <a:off x="1832594" y="4136308"/>
            <a:ext cx="1512274" cy="1967499"/>
          </a:xfrm>
          <a:prstGeom prst="rect">
            <a:avLst/>
          </a:prstGeom>
        </p:spPr>
      </p:pic>
      <p:pic>
        <p:nvPicPr>
          <p:cNvPr id="20" name="Picture 19">
            <a:extLst>
              <a:ext uri="{FF2B5EF4-FFF2-40B4-BE49-F238E27FC236}">
                <a16:creationId xmlns:a16="http://schemas.microsoft.com/office/drawing/2014/main" id="{BA022175-0920-313D-59DF-0A86A84739B6}"/>
              </a:ext>
            </a:extLst>
          </p:cNvPr>
          <p:cNvPicPr>
            <a:picLocks noChangeAspect="1"/>
          </p:cNvPicPr>
          <p:nvPr/>
        </p:nvPicPr>
        <p:blipFill>
          <a:blip r:embed="rId10"/>
          <a:stretch>
            <a:fillRect/>
          </a:stretch>
        </p:blipFill>
        <p:spPr>
          <a:xfrm>
            <a:off x="8621486" y="4549134"/>
            <a:ext cx="2068672" cy="1569924"/>
          </a:xfrm>
          <a:prstGeom prst="rect">
            <a:avLst/>
          </a:prstGeom>
        </p:spPr>
      </p:pic>
    </p:spTree>
    <p:extLst>
      <p:ext uri="{BB962C8B-B14F-4D97-AF65-F5344CB8AC3E}">
        <p14:creationId xmlns:p14="http://schemas.microsoft.com/office/powerpoint/2010/main" val="3202497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4400" dirty="0"/>
              <a:t>What Will I Learn Today?</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82710583"/>
              </p:ext>
            </p:extLst>
          </p:nvPr>
        </p:nvGraphicFramePr>
        <p:xfrm>
          <a:off x="1295400" y="1828800"/>
          <a:ext cx="9601200" cy="47740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606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958548534"/>
              </p:ext>
            </p:extLst>
          </p:nvPr>
        </p:nvGraphicFramePr>
        <p:xfrm>
          <a:off x="838200" y="1825624"/>
          <a:ext cx="10515600" cy="46984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normAutofit/>
          </a:bodyPr>
          <a:lstStyle/>
          <a:p>
            <a:r>
              <a:rPr lang="en-US" sz="4400" dirty="0"/>
              <a:t>Class of 2024 Next Steps</a:t>
            </a:r>
            <a:endParaRPr lang="en-US" sz="4400" dirty="0">
              <a:latin typeface="+mj-lt"/>
            </a:endParaRPr>
          </a:p>
        </p:txBody>
      </p:sp>
    </p:spTree>
    <p:extLst>
      <p:ext uri="{BB962C8B-B14F-4D97-AF65-F5344CB8AC3E}">
        <p14:creationId xmlns:p14="http://schemas.microsoft.com/office/powerpoint/2010/main" val="1517140496"/>
      </p:ext>
    </p:extLst>
  </p:cSld>
  <p:clrMapOvr>
    <a:masterClrMapping/>
  </p:clrMapOvr>
  <mc:AlternateContent xmlns:mc="http://schemas.openxmlformats.org/markup-compatibility/2006" xmlns:p14="http://schemas.microsoft.com/office/powerpoint/2010/main">
    <mc:Choice Requires="p14">
      <p:transition p14:dur="100" advClick="0" advTm="10000">
        <p:fade/>
      </p:transition>
    </mc:Choice>
    <mc:Fallback xmlns="">
      <p:transition advClick="0" advTm="1000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E0086-0282-4BA8-8652-F6B97A342349}"/>
              </a:ext>
            </a:extLst>
          </p:cNvPr>
          <p:cNvSpPr>
            <a:spLocks noGrp="1"/>
          </p:cNvSpPr>
          <p:nvPr>
            <p:ph type="title"/>
          </p:nvPr>
        </p:nvSpPr>
        <p:spPr>
          <a:xfrm>
            <a:off x="1295399" y="255134"/>
            <a:ext cx="10695039" cy="1036850"/>
          </a:xfrm>
        </p:spPr>
        <p:txBody>
          <a:bodyPr>
            <a:noAutofit/>
          </a:bodyPr>
          <a:lstStyle/>
          <a:p>
            <a:r>
              <a:rPr lang="en-US" sz="4800" dirty="0">
                <a:solidFill>
                  <a:prstClr val="white"/>
                </a:solidFill>
                <a:latin typeface="Tw Cen MT Condensed Extra Bold" panose="020B0803020202020204" pitchFamily="34" charset="0"/>
              </a:rPr>
              <a:t>Resource: www.wsac.wa.gov/actionplan </a:t>
            </a:r>
            <a:endParaRPr lang="en-US" sz="4800" dirty="0"/>
          </a:p>
        </p:txBody>
      </p:sp>
      <p:pic>
        <p:nvPicPr>
          <p:cNvPr id="5" name="Picture 4">
            <a:extLst>
              <a:ext uri="{FF2B5EF4-FFF2-40B4-BE49-F238E27FC236}">
                <a16:creationId xmlns:a16="http://schemas.microsoft.com/office/drawing/2014/main" id="{661FF939-B375-4267-A56D-6AAE126447BD}"/>
              </a:ext>
            </a:extLst>
          </p:cNvPr>
          <p:cNvPicPr>
            <a:picLocks noChangeAspect="1"/>
          </p:cNvPicPr>
          <p:nvPr/>
        </p:nvPicPr>
        <p:blipFill rotWithShape="1">
          <a:blip r:embed="rId3"/>
          <a:srcRect l="56202" t="11213" r="4288" b="39757"/>
          <a:stretch/>
        </p:blipFill>
        <p:spPr>
          <a:xfrm>
            <a:off x="8268929" y="2905432"/>
            <a:ext cx="3805084" cy="2227006"/>
          </a:xfrm>
          <a:prstGeom prst="rect">
            <a:avLst/>
          </a:prstGeom>
        </p:spPr>
      </p:pic>
      <p:graphicFrame>
        <p:nvGraphicFramePr>
          <p:cNvPr id="6" name="Diagram 5">
            <a:extLst>
              <a:ext uri="{FF2B5EF4-FFF2-40B4-BE49-F238E27FC236}">
                <a16:creationId xmlns:a16="http://schemas.microsoft.com/office/drawing/2014/main" id="{03280031-5853-47D2-82B1-1A0C592F316E}"/>
              </a:ext>
            </a:extLst>
          </p:cNvPr>
          <p:cNvGraphicFramePr/>
          <p:nvPr>
            <p:extLst>
              <p:ext uri="{D42A27DB-BD31-4B8C-83A1-F6EECF244321}">
                <p14:modId xmlns:p14="http://schemas.microsoft.com/office/powerpoint/2010/main" val="1964284640"/>
              </p:ext>
            </p:extLst>
          </p:nvPr>
        </p:nvGraphicFramePr>
        <p:xfrm>
          <a:off x="353962" y="1725562"/>
          <a:ext cx="7860890" cy="447176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24437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4558" y="255134"/>
            <a:ext cx="11217441" cy="1036850"/>
          </a:xfrm>
        </p:spPr>
        <p:txBody>
          <a:bodyPr>
            <a:noAutofit/>
          </a:bodyPr>
          <a:lstStyle/>
          <a:p>
            <a:r>
              <a:rPr lang="en-US" sz="4400" dirty="0"/>
              <a:t>Resource: 12</a:t>
            </a:r>
            <a:r>
              <a:rPr lang="en-US" sz="4400" baseline="30000" dirty="0"/>
              <a:t>th</a:t>
            </a:r>
            <a:r>
              <a:rPr lang="en-US" sz="4400" dirty="0"/>
              <a:t> Year Campaign Resources and Events</a:t>
            </a:r>
          </a:p>
        </p:txBody>
      </p:sp>
      <p:sp>
        <p:nvSpPr>
          <p:cNvPr id="10" name="Rectangle 9">
            <a:extLst>
              <a:ext uri="{FF2B5EF4-FFF2-40B4-BE49-F238E27FC236}">
                <a16:creationId xmlns:a16="http://schemas.microsoft.com/office/drawing/2014/main" id="{64DC5BF6-A52A-4D28-A854-D65B143B093B}"/>
              </a:ext>
            </a:extLst>
          </p:cNvPr>
          <p:cNvSpPr/>
          <p:nvPr/>
        </p:nvSpPr>
        <p:spPr>
          <a:xfrm>
            <a:off x="3955900" y="6338637"/>
            <a:ext cx="4280199" cy="461665"/>
          </a:xfrm>
          <a:prstGeom prst="rect">
            <a:avLst/>
          </a:prstGeom>
        </p:spPr>
        <p:txBody>
          <a:bodyPr wrap="square">
            <a:spAutoFit/>
          </a:bodyPr>
          <a:lstStyle/>
          <a:p>
            <a:r>
              <a:rPr lang="en-US" sz="2400" dirty="0">
                <a:latin typeface="+mj-lt"/>
              </a:rPr>
              <a:t>https://wsac.wa.gov/actionplan</a:t>
            </a:r>
          </a:p>
        </p:txBody>
      </p:sp>
      <p:graphicFrame>
        <p:nvGraphicFramePr>
          <p:cNvPr id="6" name="Content Placeholder 3">
            <a:extLst>
              <a:ext uri="{FF2B5EF4-FFF2-40B4-BE49-F238E27FC236}">
                <a16:creationId xmlns:a16="http://schemas.microsoft.com/office/drawing/2014/main" id="{943687DF-2531-4079-98DB-486164D1DCE5}"/>
              </a:ext>
            </a:extLst>
          </p:cNvPr>
          <p:cNvGraphicFramePr>
            <a:graphicFrameLocks noGrp="1"/>
          </p:cNvGraphicFramePr>
          <p:nvPr>
            <p:ph idx="1"/>
            <p:extLst>
              <p:ext uri="{D42A27DB-BD31-4B8C-83A1-F6EECF244321}">
                <p14:modId xmlns:p14="http://schemas.microsoft.com/office/powerpoint/2010/main" val="1091770984"/>
              </p:ext>
            </p:extLst>
          </p:nvPr>
        </p:nvGraphicFramePr>
        <p:xfrm>
          <a:off x="312821" y="1754188"/>
          <a:ext cx="7170821" cy="44180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C7623A3D-2F84-AF1D-9DC5-5C3FC36476E4}"/>
              </a:ext>
            </a:extLst>
          </p:cNvPr>
          <p:cNvPicPr>
            <a:picLocks noChangeAspect="1"/>
          </p:cNvPicPr>
          <p:nvPr/>
        </p:nvPicPr>
        <p:blipFill>
          <a:blip r:embed="rId8"/>
          <a:stretch>
            <a:fillRect/>
          </a:stretch>
        </p:blipFill>
        <p:spPr>
          <a:xfrm>
            <a:off x="8130707" y="1757236"/>
            <a:ext cx="3630209" cy="4724400"/>
          </a:xfrm>
          <a:prstGeom prst="rect">
            <a:avLst/>
          </a:prstGeom>
        </p:spPr>
      </p:pic>
    </p:spTree>
    <p:extLst>
      <p:ext uri="{BB962C8B-B14F-4D97-AF65-F5344CB8AC3E}">
        <p14:creationId xmlns:p14="http://schemas.microsoft.com/office/powerpoint/2010/main" val="767896883"/>
      </p:ext>
    </p:extLst>
  </p:cSld>
  <p:clrMapOvr>
    <a:masterClrMapping/>
  </p:clrMapOvr>
  <mc:AlternateContent xmlns:mc="http://schemas.openxmlformats.org/markup-compatibility/2006" xmlns:p14="http://schemas.microsoft.com/office/powerpoint/2010/main">
    <mc:Choice Requires="p14">
      <p:transition p14:dur="100" advClick="0" advTm="10000">
        <p:fade/>
      </p:transition>
    </mc:Choice>
    <mc:Fallback xmlns="">
      <p:transition advClick="0" advTm="10000">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dirty="0"/>
              <a:t>Resource: Financial Aid Padlet For Students</a:t>
            </a:r>
          </a:p>
        </p:txBody>
      </p:sp>
      <p:sp>
        <p:nvSpPr>
          <p:cNvPr id="12" name="TextBox 11">
            <a:extLst>
              <a:ext uri="{FF2B5EF4-FFF2-40B4-BE49-F238E27FC236}">
                <a16:creationId xmlns:a16="http://schemas.microsoft.com/office/drawing/2014/main" id="{87761542-3469-4871-A8E3-C82C017B81AC}"/>
              </a:ext>
            </a:extLst>
          </p:cNvPr>
          <p:cNvSpPr txBox="1"/>
          <p:nvPr/>
        </p:nvSpPr>
        <p:spPr>
          <a:xfrm>
            <a:off x="963930" y="5986648"/>
            <a:ext cx="10264140" cy="646331"/>
          </a:xfrm>
          <a:prstGeom prst="rect">
            <a:avLst/>
          </a:prstGeom>
          <a:noFill/>
        </p:spPr>
        <p:txBody>
          <a:bodyPr wrap="square">
            <a:spAutoFit/>
          </a:bodyPr>
          <a:lstStyle/>
          <a:p>
            <a:pPr algn="ctr"/>
            <a:r>
              <a:rPr lang="en-US" sz="3600" dirty="0">
                <a:latin typeface="+mj-lt"/>
              </a:rPr>
              <a:t>https://padlet.com/christinaw12/t6jfitu7m8in10xc</a:t>
            </a:r>
          </a:p>
        </p:txBody>
      </p:sp>
      <p:pic>
        <p:nvPicPr>
          <p:cNvPr id="5" name="Picture 4">
            <a:extLst>
              <a:ext uri="{FF2B5EF4-FFF2-40B4-BE49-F238E27FC236}">
                <a16:creationId xmlns:a16="http://schemas.microsoft.com/office/drawing/2014/main" id="{7E13321E-31AD-4C38-9D55-2625A820C0F0}"/>
              </a:ext>
            </a:extLst>
          </p:cNvPr>
          <p:cNvPicPr>
            <a:picLocks noChangeAspect="1"/>
          </p:cNvPicPr>
          <p:nvPr/>
        </p:nvPicPr>
        <p:blipFill rotWithShape="1">
          <a:blip r:embed="rId3"/>
          <a:srcRect r="42260"/>
          <a:stretch/>
        </p:blipFill>
        <p:spPr>
          <a:xfrm>
            <a:off x="724087" y="1613595"/>
            <a:ext cx="5926549" cy="4373053"/>
          </a:xfrm>
          <a:prstGeom prst="rect">
            <a:avLst/>
          </a:prstGeom>
        </p:spPr>
      </p:pic>
      <p:pic>
        <p:nvPicPr>
          <p:cNvPr id="4" name="Picture 3">
            <a:extLst>
              <a:ext uri="{FF2B5EF4-FFF2-40B4-BE49-F238E27FC236}">
                <a16:creationId xmlns:a16="http://schemas.microsoft.com/office/drawing/2014/main" id="{079D331C-692F-4FFE-B366-FB868ACD2DA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3416" y="1954599"/>
            <a:ext cx="3724497" cy="3691043"/>
          </a:xfrm>
          <a:prstGeom prst="rect">
            <a:avLst/>
          </a:prstGeom>
        </p:spPr>
      </p:pic>
    </p:spTree>
    <p:extLst>
      <p:ext uri="{BB962C8B-B14F-4D97-AF65-F5344CB8AC3E}">
        <p14:creationId xmlns:p14="http://schemas.microsoft.com/office/powerpoint/2010/main" val="2921371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71BBC-DCFC-4CF2-802B-E394F3506A4A}"/>
              </a:ext>
            </a:extLst>
          </p:cNvPr>
          <p:cNvSpPr>
            <a:spLocks noGrp="1"/>
          </p:cNvSpPr>
          <p:nvPr>
            <p:ph type="title"/>
          </p:nvPr>
        </p:nvSpPr>
        <p:spPr>
          <a:xfrm>
            <a:off x="1011382" y="255134"/>
            <a:ext cx="11069782" cy="1036850"/>
          </a:xfrm>
        </p:spPr>
        <p:txBody>
          <a:bodyPr>
            <a:noAutofit/>
          </a:bodyPr>
          <a:lstStyle/>
          <a:p>
            <a:r>
              <a:rPr lang="en-US" sz="3700"/>
              <a:t>Washington Financial Aid for Education and Training Videos</a:t>
            </a:r>
          </a:p>
        </p:txBody>
      </p:sp>
      <p:sp>
        <p:nvSpPr>
          <p:cNvPr id="5" name="Content Placeholder 4">
            <a:extLst>
              <a:ext uri="{FF2B5EF4-FFF2-40B4-BE49-F238E27FC236}">
                <a16:creationId xmlns:a16="http://schemas.microsoft.com/office/drawing/2014/main" id="{1D181919-2B08-46F3-B2EE-00A94AFFD34E}"/>
              </a:ext>
            </a:extLst>
          </p:cNvPr>
          <p:cNvSpPr>
            <a:spLocks noGrp="1"/>
          </p:cNvSpPr>
          <p:nvPr>
            <p:ph idx="1"/>
          </p:nvPr>
        </p:nvSpPr>
        <p:spPr>
          <a:xfrm>
            <a:off x="304800" y="1828799"/>
            <a:ext cx="4073236" cy="4788353"/>
          </a:xfrm>
        </p:spPr>
        <p:txBody>
          <a:bodyPr>
            <a:normAutofit fontScale="92500" lnSpcReduction="20000"/>
          </a:bodyPr>
          <a:lstStyle/>
          <a:p>
            <a:pPr marL="0" indent="0">
              <a:buNone/>
            </a:pPr>
            <a:r>
              <a:rPr lang="en-US" sz="3000">
                <a:latin typeface="+mj-lt"/>
              </a:rPr>
              <a:t>Informational videos about education after high school in the following languages:</a:t>
            </a:r>
          </a:p>
          <a:p>
            <a:pPr marL="0" indent="0">
              <a:buNone/>
            </a:pPr>
            <a:r>
              <a:rPr lang="en-US" sz="3000">
                <a:latin typeface="+mj-lt"/>
              </a:rPr>
              <a:t>•English</a:t>
            </a:r>
          </a:p>
          <a:p>
            <a:pPr marL="0" indent="0">
              <a:buNone/>
            </a:pPr>
            <a:r>
              <a:rPr lang="en-US" sz="3000">
                <a:latin typeface="+mj-lt"/>
              </a:rPr>
              <a:t>•Mandarin</a:t>
            </a:r>
          </a:p>
          <a:p>
            <a:pPr marL="0" indent="0">
              <a:buNone/>
            </a:pPr>
            <a:r>
              <a:rPr lang="en-US" sz="3000">
                <a:latin typeface="+mj-lt"/>
              </a:rPr>
              <a:t>•Russian</a:t>
            </a:r>
          </a:p>
          <a:p>
            <a:pPr marL="0" indent="0">
              <a:buNone/>
            </a:pPr>
            <a:r>
              <a:rPr lang="en-US" sz="3000">
                <a:latin typeface="+mj-lt"/>
              </a:rPr>
              <a:t>•Somali</a:t>
            </a:r>
          </a:p>
          <a:p>
            <a:pPr marL="0" indent="0">
              <a:buNone/>
            </a:pPr>
            <a:r>
              <a:rPr lang="en-US" sz="3000">
                <a:latin typeface="+mj-lt"/>
              </a:rPr>
              <a:t>•Spanish</a:t>
            </a:r>
          </a:p>
          <a:p>
            <a:pPr marL="0" indent="0">
              <a:buNone/>
            </a:pPr>
            <a:r>
              <a:rPr lang="en-US" sz="3000">
                <a:latin typeface="+mj-lt"/>
              </a:rPr>
              <a:t>•Tagalog</a:t>
            </a:r>
          </a:p>
          <a:p>
            <a:pPr marL="0" indent="0">
              <a:buNone/>
            </a:pPr>
            <a:r>
              <a:rPr lang="en-US" sz="3000">
                <a:latin typeface="+mj-lt"/>
              </a:rPr>
              <a:t>•Vietnamese </a:t>
            </a:r>
          </a:p>
          <a:p>
            <a:pPr marL="0" indent="0">
              <a:buNone/>
            </a:pPr>
            <a:endParaRPr lang="en-US"/>
          </a:p>
        </p:txBody>
      </p:sp>
      <p:pic>
        <p:nvPicPr>
          <p:cNvPr id="6" name="Picture 5">
            <a:extLst>
              <a:ext uri="{FF2B5EF4-FFF2-40B4-BE49-F238E27FC236}">
                <a16:creationId xmlns:a16="http://schemas.microsoft.com/office/drawing/2014/main" id="{C1AD567A-5C79-4842-8128-8AD57C1D527F}"/>
              </a:ext>
            </a:extLst>
          </p:cNvPr>
          <p:cNvPicPr>
            <a:picLocks noChangeAspect="1"/>
          </p:cNvPicPr>
          <p:nvPr/>
        </p:nvPicPr>
        <p:blipFill>
          <a:blip r:embed="rId3"/>
          <a:stretch>
            <a:fillRect/>
          </a:stretch>
        </p:blipFill>
        <p:spPr>
          <a:xfrm>
            <a:off x="4701428" y="1747053"/>
            <a:ext cx="7185772" cy="3822473"/>
          </a:xfrm>
          <a:prstGeom prst="rect">
            <a:avLst/>
          </a:prstGeom>
        </p:spPr>
      </p:pic>
      <p:pic>
        <p:nvPicPr>
          <p:cNvPr id="12" name="Picture 11">
            <a:extLst>
              <a:ext uri="{FF2B5EF4-FFF2-40B4-BE49-F238E27FC236}">
                <a16:creationId xmlns:a16="http://schemas.microsoft.com/office/drawing/2014/main" id="{27E17EDC-D394-442F-A25C-9E1512C825B6}"/>
              </a:ext>
            </a:extLst>
          </p:cNvPr>
          <p:cNvPicPr>
            <a:picLocks noChangeAspect="1"/>
          </p:cNvPicPr>
          <p:nvPr/>
        </p:nvPicPr>
        <p:blipFill>
          <a:blip r:embed="rId4"/>
          <a:stretch>
            <a:fillRect/>
          </a:stretch>
        </p:blipFill>
        <p:spPr>
          <a:xfrm>
            <a:off x="2590800" y="5784749"/>
            <a:ext cx="9296400" cy="897584"/>
          </a:xfrm>
          <a:prstGeom prst="rect">
            <a:avLst/>
          </a:prstGeom>
        </p:spPr>
      </p:pic>
    </p:spTree>
    <p:extLst>
      <p:ext uri="{BB962C8B-B14F-4D97-AF65-F5344CB8AC3E}">
        <p14:creationId xmlns:p14="http://schemas.microsoft.com/office/powerpoint/2010/main" val="284245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BF0E-B26E-4AD2-BFF8-4F8C4D41A36B}"/>
              </a:ext>
            </a:extLst>
          </p:cNvPr>
          <p:cNvSpPr>
            <a:spLocks noGrp="1"/>
          </p:cNvSpPr>
          <p:nvPr>
            <p:ph type="title"/>
          </p:nvPr>
        </p:nvSpPr>
        <p:spPr/>
        <p:txBody>
          <a:bodyPr>
            <a:normAutofit/>
          </a:bodyPr>
          <a:lstStyle/>
          <a:p>
            <a:r>
              <a:rPr lang="en-US" sz="4400" dirty="0"/>
              <a:t>We Are Here to Help!</a:t>
            </a:r>
          </a:p>
        </p:txBody>
      </p:sp>
      <p:graphicFrame>
        <p:nvGraphicFramePr>
          <p:cNvPr id="4" name="Content Placeholder 4">
            <a:extLst>
              <a:ext uri="{FF2B5EF4-FFF2-40B4-BE49-F238E27FC236}">
                <a16:creationId xmlns:a16="http://schemas.microsoft.com/office/drawing/2014/main" id="{4949E879-7743-40DC-BA7E-FB593E62A5DD}"/>
              </a:ext>
            </a:extLst>
          </p:cNvPr>
          <p:cNvGraphicFramePr>
            <a:graphicFrameLocks noGrp="1"/>
          </p:cNvGraphicFramePr>
          <p:nvPr>
            <p:ph idx="1"/>
            <p:extLst>
              <p:ext uri="{D42A27DB-BD31-4B8C-83A1-F6EECF244321}">
                <p14:modId xmlns:p14="http://schemas.microsoft.com/office/powerpoint/2010/main" val="1601105625"/>
              </p:ext>
            </p:extLst>
          </p:nvPr>
        </p:nvGraphicFramePr>
        <p:xfrm>
          <a:off x="2843212" y="1847850"/>
          <a:ext cx="6505575" cy="47550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600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106EE-5BD0-4ADE-9483-751CA1604738}"/>
              </a:ext>
            </a:extLst>
          </p:cNvPr>
          <p:cNvSpPr>
            <a:spLocks noGrp="1"/>
          </p:cNvSpPr>
          <p:nvPr>
            <p:ph type="title"/>
          </p:nvPr>
        </p:nvSpPr>
        <p:spPr/>
        <p:txBody>
          <a:bodyPr>
            <a:normAutofit/>
          </a:bodyPr>
          <a:lstStyle/>
          <a:p>
            <a:r>
              <a:rPr lang="en-US" sz="4400" dirty="0"/>
              <a:t>Questions </a:t>
            </a:r>
          </a:p>
        </p:txBody>
      </p:sp>
      <p:pic>
        <p:nvPicPr>
          <p:cNvPr id="2050" name="Picture 2" descr="Two Simple Questions – The Leg Up">
            <a:extLst>
              <a:ext uri="{FF2B5EF4-FFF2-40B4-BE49-F238E27FC236}">
                <a16:creationId xmlns:a16="http://schemas.microsoft.com/office/drawing/2014/main" id="{B2AEB441-0C2D-44AB-AC00-56DCF7B8BF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0075" y="2130299"/>
            <a:ext cx="3371850" cy="2724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504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4213A-9A14-4DF7-80B7-8687AC688712}"/>
              </a:ext>
            </a:extLst>
          </p:cNvPr>
          <p:cNvSpPr>
            <a:spLocks noGrp="1"/>
          </p:cNvSpPr>
          <p:nvPr>
            <p:ph type="title"/>
          </p:nvPr>
        </p:nvSpPr>
        <p:spPr/>
        <p:txBody>
          <a:bodyPr>
            <a:normAutofit/>
          </a:bodyPr>
          <a:lstStyle/>
          <a:p>
            <a:r>
              <a:rPr lang="en-US" sz="4400" dirty="0"/>
              <a:t>What is Financial Aid?</a:t>
            </a:r>
          </a:p>
        </p:txBody>
      </p:sp>
      <p:sp>
        <p:nvSpPr>
          <p:cNvPr id="3" name="Content Placeholder 2">
            <a:extLst>
              <a:ext uri="{FF2B5EF4-FFF2-40B4-BE49-F238E27FC236}">
                <a16:creationId xmlns:a16="http://schemas.microsoft.com/office/drawing/2014/main" id="{E3F3C8B3-DD63-49AC-8360-6F760D59E870}"/>
              </a:ext>
            </a:extLst>
          </p:cNvPr>
          <p:cNvSpPr>
            <a:spLocks noGrp="1"/>
          </p:cNvSpPr>
          <p:nvPr>
            <p:ph idx="1"/>
          </p:nvPr>
        </p:nvSpPr>
        <p:spPr>
          <a:xfrm>
            <a:off x="2997592" y="2276369"/>
            <a:ext cx="6196815" cy="3419582"/>
          </a:xfrm>
          <a:solidFill>
            <a:schemeClr val="accent2"/>
          </a:solidFill>
          <a:ln w="57150">
            <a:solidFill>
              <a:schemeClr val="accent2"/>
            </a:solidFill>
          </a:ln>
        </p:spPr>
        <p:style>
          <a:lnRef idx="2">
            <a:schemeClr val="accent1"/>
          </a:lnRef>
          <a:fillRef idx="1">
            <a:schemeClr val="lt1"/>
          </a:fillRef>
          <a:effectRef idx="0">
            <a:schemeClr val="accent1"/>
          </a:effectRef>
          <a:fontRef idx="minor">
            <a:schemeClr val="dk1"/>
          </a:fontRef>
        </p:style>
        <p:txBody>
          <a:bodyPr>
            <a:normAutofit lnSpcReduction="10000"/>
          </a:bodyPr>
          <a:lstStyle/>
          <a:p>
            <a:pPr marL="0" indent="0" algn="ctr">
              <a:buNone/>
            </a:pPr>
            <a:r>
              <a:rPr lang="en-US" sz="4400" dirty="0">
                <a:solidFill>
                  <a:schemeClr val="bg1"/>
                </a:solidFill>
                <a:latin typeface="+mj-lt"/>
              </a:rPr>
              <a:t>Financial aid is money to help pay for college or career school. Grants, work-study, loans, and scholarships help make college affordable.</a:t>
            </a:r>
          </a:p>
        </p:txBody>
      </p:sp>
    </p:spTree>
    <p:extLst>
      <p:ext uri="{BB962C8B-B14F-4D97-AF65-F5344CB8AC3E}">
        <p14:creationId xmlns:p14="http://schemas.microsoft.com/office/powerpoint/2010/main" val="183244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l="2351" t="4925" r="2942" b="1950"/>
          <a:stretch/>
        </p:blipFill>
        <p:spPr>
          <a:xfrm rot="397931" flipH="1">
            <a:off x="304748" y="1823514"/>
            <a:ext cx="2189617" cy="1992067"/>
          </a:xfrm>
          <a:prstGeom prst="rect">
            <a:avLst/>
          </a:prstGeom>
        </p:spPr>
      </p:pic>
      <p:sp>
        <p:nvSpPr>
          <p:cNvPr id="2" name="Title 1"/>
          <p:cNvSpPr>
            <a:spLocks noGrp="1"/>
          </p:cNvSpPr>
          <p:nvPr>
            <p:ph type="title"/>
          </p:nvPr>
        </p:nvSpPr>
        <p:spPr>
          <a:xfrm>
            <a:off x="1295400" y="255134"/>
            <a:ext cx="9479692" cy="1036850"/>
          </a:xfrm>
        </p:spPr>
        <p:txBody>
          <a:bodyPr anchor="b">
            <a:noAutofit/>
          </a:bodyPr>
          <a:lstStyle/>
          <a:p>
            <a:br>
              <a:rPr lang="en-US" sz="4800" dirty="0"/>
            </a:br>
            <a:r>
              <a:rPr lang="en-US" sz="4400" dirty="0"/>
              <a:t>Financial Aid Is An Umbrella </a:t>
            </a:r>
            <a:endParaRPr lang="en-US" sz="4800" dirty="0"/>
          </a:p>
        </p:txBody>
      </p:sp>
      <p:graphicFrame>
        <p:nvGraphicFramePr>
          <p:cNvPr id="4" name="Diagram 3"/>
          <p:cNvGraphicFramePr/>
          <p:nvPr/>
        </p:nvGraphicFramePr>
        <p:xfrm>
          <a:off x="692537" y="3084962"/>
          <a:ext cx="10685417" cy="28247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932508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E07A1-1074-452E-AE6C-05F95B3172ED}"/>
              </a:ext>
            </a:extLst>
          </p:cNvPr>
          <p:cNvSpPr>
            <a:spLocks noGrp="1"/>
          </p:cNvSpPr>
          <p:nvPr>
            <p:ph type="title"/>
          </p:nvPr>
        </p:nvSpPr>
        <p:spPr/>
        <p:txBody>
          <a:bodyPr>
            <a:normAutofit/>
          </a:bodyPr>
          <a:lstStyle/>
          <a:p>
            <a:r>
              <a:rPr lang="en-US" sz="4400" dirty="0"/>
              <a:t>Grants</a:t>
            </a:r>
            <a:endParaRPr lang="en-US" sz="3200" dirty="0"/>
          </a:p>
        </p:txBody>
      </p:sp>
      <p:graphicFrame>
        <p:nvGraphicFramePr>
          <p:cNvPr id="4" name="Content Placeholder 3">
            <a:extLst>
              <a:ext uri="{FF2B5EF4-FFF2-40B4-BE49-F238E27FC236}">
                <a16:creationId xmlns:a16="http://schemas.microsoft.com/office/drawing/2014/main" id="{B7F2EBC0-DCF5-42BD-86C2-7D7DA46CC480}"/>
              </a:ext>
            </a:extLst>
          </p:cNvPr>
          <p:cNvGraphicFramePr>
            <a:graphicFrameLocks noGrp="1"/>
          </p:cNvGraphicFramePr>
          <p:nvPr>
            <p:ph idx="1"/>
          </p:nvPr>
        </p:nvGraphicFramePr>
        <p:xfrm>
          <a:off x="1295400" y="1828800"/>
          <a:ext cx="9601200" cy="434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287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6760" y="255134"/>
            <a:ext cx="9601200" cy="1036850"/>
          </a:xfrm>
        </p:spPr>
        <p:txBody>
          <a:bodyPr>
            <a:normAutofit/>
          </a:bodyPr>
          <a:lstStyle/>
          <a:p>
            <a:r>
              <a:rPr lang="en-US" sz="4400" dirty="0"/>
              <a:t>Washington College Grant (WA Grant)</a:t>
            </a:r>
          </a:p>
        </p:txBody>
      </p:sp>
      <p:sp>
        <p:nvSpPr>
          <p:cNvPr id="3" name="Content Placeholder 2"/>
          <p:cNvSpPr>
            <a:spLocks noGrp="1"/>
          </p:cNvSpPr>
          <p:nvPr>
            <p:ph idx="1"/>
          </p:nvPr>
        </p:nvSpPr>
        <p:spPr>
          <a:xfrm>
            <a:off x="262128" y="4620768"/>
            <a:ext cx="11667744" cy="1542884"/>
          </a:xfrm>
        </p:spPr>
        <p:txBody>
          <a:bodyPr>
            <a:noAutofit/>
          </a:bodyPr>
          <a:lstStyle/>
          <a:p>
            <a:pPr marL="0" indent="0" algn="ctr">
              <a:lnSpc>
                <a:spcPct val="100000"/>
              </a:lnSpc>
              <a:spcBef>
                <a:spcPts val="1200"/>
              </a:spcBef>
              <a:spcAft>
                <a:spcPts val="600"/>
              </a:spcAft>
              <a:buNone/>
            </a:pPr>
            <a:r>
              <a:rPr lang="en-US" sz="2600" dirty="0">
                <a:latin typeface="+mj-lt"/>
              </a:rPr>
              <a:t>Washington State has made a groundbreaking commitment to </a:t>
            </a:r>
            <a:br>
              <a:rPr lang="en-US" sz="2600" dirty="0">
                <a:latin typeface="+mj-lt"/>
              </a:rPr>
            </a:br>
            <a:r>
              <a:rPr lang="en-US" sz="2600" dirty="0">
                <a:latin typeface="+mj-lt"/>
              </a:rPr>
              <a:t>financial aid for low- and middle-income people of all ages with the </a:t>
            </a:r>
            <a:r>
              <a:rPr lang="en-US" sz="2600" b="1" dirty="0">
                <a:latin typeface="+mj-lt"/>
              </a:rPr>
              <a:t>Washington College Grant </a:t>
            </a:r>
            <a:r>
              <a:rPr lang="en-US" sz="2600" dirty="0">
                <a:latin typeface="+mj-lt"/>
              </a:rPr>
              <a:t>(WA Grant).  This grant gives eligible people more money for more types of education like certificate programs, job training, apprenticeships, or college.</a:t>
            </a:r>
          </a:p>
        </p:txBody>
      </p:sp>
      <p:pic>
        <p:nvPicPr>
          <p:cNvPr id="6" name="Picture 5">
            <a:extLst>
              <a:ext uri="{FF2B5EF4-FFF2-40B4-BE49-F238E27FC236}">
                <a16:creationId xmlns:a16="http://schemas.microsoft.com/office/drawing/2014/main" id="{FA599CB1-0529-1FD7-779B-EF7741627665}"/>
              </a:ext>
            </a:extLst>
          </p:cNvPr>
          <p:cNvPicPr>
            <a:picLocks noChangeAspect="1"/>
          </p:cNvPicPr>
          <p:nvPr/>
        </p:nvPicPr>
        <p:blipFill rotWithShape="1">
          <a:blip r:embed="rId3"/>
          <a:srcRect t="1" b="2291"/>
          <a:stretch/>
        </p:blipFill>
        <p:spPr>
          <a:xfrm>
            <a:off x="1228045" y="1858903"/>
            <a:ext cx="9735909" cy="2615562"/>
          </a:xfrm>
          <a:prstGeom prst="rect">
            <a:avLst/>
          </a:prstGeom>
        </p:spPr>
      </p:pic>
    </p:spTree>
    <p:extLst>
      <p:ext uri="{BB962C8B-B14F-4D97-AF65-F5344CB8AC3E}">
        <p14:creationId xmlns:p14="http://schemas.microsoft.com/office/powerpoint/2010/main" val="893117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96E9FDA-CAE1-4C95-A7C9-493BA36C7CE2}"/>
              </a:ext>
              <a:ext uri="{C183D7F6-B498-43B3-948B-1728B52AA6E4}">
                <adec:decorative xmlns:adec="http://schemas.microsoft.com/office/drawing/2017/decorative" val="1"/>
              </a:ext>
            </a:extLst>
          </p:cNvPr>
          <p:cNvSpPr/>
          <p:nvPr/>
        </p:nvSpPr>
        <p:spPr>
          <a:xfrm>
            <a:off x="1047963" y="1688583"/>
            <a:ext cx="10096074" cy="95549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111268-4702-4C64-BCE2-E2046022A831}"/>
              </a:ext>
            </a:extLst>
          </p:cNvPr>
          <p:cNvSpPr>
            <a:spLocks noGrp="1"/>
          </p:cNvSpPr>
          <p:nvPr>
            <p:ph type="title"/>
          </p:nvPr>
        </p:nvSpPr>
        <p:spPr>
          <a:xfrm>
            <a:off x="1295400" y="255134"/>
            <a:ext cx="10805556" cy="1036850"/>
          </a:xfrm>
        </p:spPr>
        <p:txBody>
          <a:bodyPr>
            <a:noAutofit/>
          </a:bodyPr>
          <a:lstStyle/>
          <a:p>
            <a:r>
              <a:rPr lang="en-US" sz="3600">
                <a:latin typeface="Tw Cen MT Condensed Extra Bold" panose="020B0803020202020204" pitchFamily="34" charset="0"/>
              </a:rPr>
              <a:t>Washington College Grant Provides a Unique Opportunity</a:t>
            </a:r>
          </a:p>
        </p:txBody>
      </p:sp>
      <p:sp>
        <p:nvSpPr>
          <p:cNvPr id="3" name="Content Placeholder 2">
            <a:extLst>
              <a:ext uri="{FF2B5EF4-FFF2-40B4-BE49-F238E27FC236}">
                <a16:creationId xmlns:a16="http://schemas.microsoft.com/office/drawing/2014/main" id="{D8B88D22-81CC-4D7E-A36F-E247E18C0656}"/>
              </a:ext>
            </a:extLst>
          </p:cNvPr>
          <p:cNvSpPr>
            <a:spLocks noGrp="1"/>
          </p:cNvSpPr>
          <p:nvPr>
            <p:ph sz="half" idx="1"/>
          </p:nvPr>
        </p:nvSpPr>
        <p:spPr>
          <a:xfrm>
            <a:off x="1047964" y="1715786"/>
            <a:ext cx="10096073" cy="4343400"/>
          </a:xfrm>
        </p:spPr>
        <p:txBody>
          <a:bodyPr>
            <a:normAutofit/>
          </a:bodyPr>
          <a:lstStyle/>
          <a:p>
            <a:pPr marL="0" indent="0" algn="ctr">
              <a:buNone/>
            </a:pPr>
            <a:r>
              <a:rPr lang="en-US" sz="2800" dirty="0">
                <a:latin typeface="+mj-lt"/>
              </a:rPr>
              <a:t>With the Washington College Grant (WCG), more families are eligible for financial aid than ever before.</a:t>
            </a:r>
          </a:p>
        </p:txBody>
      </p:sp>
      <p:graphicFrame>
        <p:nvGraphicFramePr>
          <p:cNvPr id="5" name="Table 4" descr="An eligible individual with a family size of one with income up to $29,000 would receive a full award, or a partial award with income up to $53,000. An individual from an eligible family of four with income up to $56,000 would receive a full award, or a partial award with income up to $102,000.">
            <a:extLst>
              <a:ext uri="{FF2B5EF4-FFF2-40B4-BE49-F238E27FC236}">
                <a16:creationId xmlns:a16="http://schemas.microsoft.com/office/drawing/2014/main" id="{BB440BCC-5139-488C-BBF4-1333D7958AA9}"/>
              </a:ext>
            </a:extLst>
          </p:cNvPr>
          <p:cNvGraphicFramePr>
            <a:graphicFrameLocks noGrp="1"/>
          </p:cNvGraphicFramePr>
          <p:nvPr/>
        </p:nvGraphicFramePr>
        <p:xfrm>
          <a:off x="1047963" y="2772347"/>
          <a:ext cx="7182348" cy="3137760"/>
        </p:xfrm>
        <a:graphic>
          <a:graphicData uri="http://schemas.openxmlformats.org/drawingml/2006/table">
            <a:tbl>
              <a:tblPr firstRow="1" bandRow="1">
                <a:tableStyleId>{5C22544A-7EE6-4342-B048-85BDC9FD1C3A}</a:tableStyleId>
              </a:tblPr>
              <a:tblGrid>
                <a:gridCol w="2394116">
                  <a:extLst>
                    <a:ext uri="{9D8B030D-6E8A-4147-A177-3AD203B41FA5}">
                      <a16:colId xmlns:a16="http://schemas.microsoft.com/office/drawing/2014/main" val="1724055527"/>
                    </a:ext>
                  </a:extLst>
                </a:gridCol>
                <a:gridCol w="2394116">
                  <a:extLst>
                    <a:ext uri="{9D8B030D-6E8A-4147-A177-3AD203B41FA5}">
                      <a16:colId xmlns:a16="http://schemas.microsoft.com/office/drawing/2014/main" val="4256162939"/>
                    </a:ext>
                  </a:extLst>
                </a:gridCol>
                <a:gridCol w="2394116">
                  <a:extLst>
                    <a:ext uri="{9D8B030D-6E8A-4147-A177-3AD203B41FA5}">
                      <a16:colId xmlns:a16="http://schemas.microsoft.com/office/drawing/2014/main" val="1900674037"/>
                    </a:ext>
                  </a:extLst>
                </a:gridCol>
              </a:tblGrid>
              <a:tr h="434683">
                <a:tc>
                  <a:txBody>
                    <a:bodyPr/>
                    <a:lstStyle/>
                    <a:p>
                      <a:pPr algn="ctr"/>
                      <a:r>
                        <a:rPr lang="en-US" sz="2000">
                          <a:latin typeface="+mj-lt"/>
                        </a:rPr>
                        <a:t>Family Size</a:t>
                      </a:r>
                    </a:p>
                  </a:txBody>
                  <a:tcPr marL="74087" marR="74087" marT="37044" marB="37044" anchor="ctr">
                    <a:solidFill>
                      <a:schemeClr val="accent2"/>
                    </a:solidFill>
                  </a:tcPr>
                </a:tc>
                <a:tc>
                  <a:txBody>
                    <a:bodyPr/>
                    <a:lstStyle/>
                    <a:p>
                      <a:pPr algn="ctr"/>
                      <a:r>
                        <a:rPr lang="en-US" sz="2000">
                          <a:latin typeface="+mj-lt"/>
                        </a:rPr>
                        <a:t>Full Award</a:t>
                      </a:r>
                    </a:p>
                  </a:txBody>
                  <a:tcPr marL="74087" marR="74087" marT="37044" marB="37044" anchor="ctr">
                    <a:solidFill>
                      <a:schemeClr val="tx1"/>
                    </a:solidFill>
                  </a:tcPr>
                </a:tc>
                <a:tc>
                  <a:txBody>
                    <a:bodyPr/>
                    <a:lstStyle/>
                    <a:p>
                      <a:pPr algn="ctr"/>
                      <a:r>
                        <a:rPr lang="en-US" sz="2000">
                          <a:latin typeface="+mj-lt"/>
                        </a:rPr>
                        <a:t>Partial Award</a:t>
                      </a:r>
                    </a:p>
                  </a:txBody>
                  <a:tcPr marL="74087" marR="74087" marT="37044" marB="37044" anchor="ctr">
                    <a:solidFill>
                      <a:schemeClr val="tx1"/>
                    </a:solidFill>
                  </a:tcPr>
                </a:tc>
                <a:extLst>
                  <a:ext uri="{0D108BD9-81ED-4DB2-BD59-A6C34878D82A}">
                    <a16:rowId xmlns:a16="http://schemas.microsoft.com/office/drawing/2014/main" val="1445503361"/>
                  </a:ext>
                </a:extLst>
              </a:tr>
              <a:tr h="1432354">
                <a:tc>
                  <a:txBody>
                    <a:bodyPr/>
                    <a:lstStyle/>
                    <a:p>
                      <a:pPr algn="ctr"/>
                      <a:endParaRPr lang="en-US" sz="2000">
                        <a:latin typeface="+mj-lt"/>
                      </a:endParaRPr>
                    </a:p>
                  </a:txBody>
                  <a:tcPr marL="74087" marR="74087" marT="37044" marB="37044">
                    <a:lnB w="9525" cap="flat" cmpd="sng" algn="ctr">
                      <a:solidFill>
                        <a:schemeClr val="tx1"/>
                      </a:solidFill>
                      <a:prstDash val="solid"/>
                      <a:round/>
                      <a:headEnd type="none" w="med" len="med"/>
                      <a:tailEnd type="none" w="med" len="med"/>
                    </a:lnB>
                    <a:noFill/>
                  </a:tcPr>
                </a:tc>
                <a:tc>
                  <a:txBody>
                    <a:bodyPr/>
                    <a:lstStyle/>
                    <a:p>
                      <a:pPr algn="ctr"/>
                      <a:r>
                        <a:rPr lang="en-US" sz="2000" b="1" dirty="0">
                          <a:solidFill>
                            <a:schemeClr val="tx1"/>
                          </a:solidFill>
                          <a:latin typeface="+mj-lt"/>
                        </a:rPr>
                        <a:t>Income</a:t>
                      </a:r>
                    </a:p>
                    <a:p>
                      <a:pPr algn="ctr"/>
                      <a:r>
                        <a:rPr lang="en-US" sz="2000" dirty="0">
                          <a:solidFill>
                            <a:schemeClr val="tx1"/>
                          </a:solidFill>
                          <a:latin typeface="+mj-lt"/>
                        </a:rPr>
                        <a:t>$38,000</a:t>
                      </a:r>
                    </a:p>
                    <a:p>
                      <a:pPr algn="ctr"/>
                      <a:r>
                        <a:rPr lang="en-US" sz="2000" dirty="0">
                          <a:solidFill>
                            <a:schemeClr val="tx1"/>
                          </a:solidFill>
                          <a:latin typeface="+mj-lt"/>
                        </a:rPr>
                        <a:t>or less</a:t>
                      </a:r>
                    </a:p>
                  </a:txBody>
                  <a:tcPr marL="74087" marR="74087" marT="37044" marB="37044" anchor="ctr">
                    <a:lnB w="9525" cap="flat" cmpd="sng" algn="ctr">
                      <a:solidFill>
                        <a:schemeClr val="tx1"/>
                      </a:solidFill>
                      <a:prstDash val="solid"/>
                      <a:round/>
                      <a:headEnd type="none" w="med" len="med"/>
                      <a:tailEnd type="none" w="med" len="med"/>
                    </a:lnB>
                    <a:solidFill>
                      <a:schemeClr val="bg2"/>
                    </a:solidFill>
                  </a:tcPr>
                </a:tc>
                <a:tc>
                  <a:txBody>
                    <a:bodyPr/>
                    <a:lstStyle/>
                    <a:p>
                      <a:pPr algn="ctr"/>
                      <a:r>
                        <a:rPr lang="en-US" sz="2000" b="1" dirty="0">
                          <a:solidFill>
                            <a:schemeClr val="tx1"/>
                          </a:solidFill>
                          <a:latin typeface="+mj-lt"/>
                        </a:rPr>
                        <a:t>Income</a:t>
                      </a:r>
                    </a:p>
                    <a:p>
                      <a:pPr algn="ctr"/>
                      <a:r>
                        <a:rPr lang="en-US" sz="2000" dirty="0">
                          <a:solidFill>
                            <a:schemeClr val="tx1"/>
                          </a:solidFill>
                          <a:latin typeface="+mj-lt"/>
                        </a:rPr>
                        <a:t>Up to </a:t>
                      </a:r>
                    </a:p>
                    <a:p>
                      <a:pPr algn="ctr"/>
                      <a:r>
                        <a:rPr lang="en-US" sz="2000" dirty="0">
                          <a:solidFill>
                            <a:schemeClr val="tx1"/>
                          </a:solidFill>
                          <a:latin typeface="+mj-lt"/>
                        </a:rPr>
                        <a:t>$58,500</a:t>
                      </a:r>
                    </a:p>
                  </a:txBody>
                  <a:tcPr marL="74087" marR="74087" marT="37044" marB="37044" anchor="ctr">
                    <a:lnB w="9525"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48592891"/>
                  </a:ext>
                </a:extLst>
              </a:tr>
              <a:tr h="1270723">
                <a:tc>
                  <a:txBody>
                    <a:bodyPr/>
                    <a:lstStyle/>
                    <a:p>
                      <a:pPr algn="ctr"/>
                      <a:endParaRPr lang="en-US" sz="2000">
                        <a:latin typeface="+mj-lt"/>
                      </a:endParaRPr>
                    </a:p>
                  </a:txBody>
                  <a:tcPr marL="74087" marR="74087" marT="37044" marB="37044">
                    <a:lnT w="9525" cap="flat" cmpd="sng" algn="ctr">
                      <a:solidFill>
                        <a:schemeClr val="tx1"/>
                      </a:solidFill>
                      <a:prstDash val="solid"/>
                      <a:round/>
                      <a:headEnd type="none" w="med" len="med"/>
                      <a:tailEnd type="none" w="med" len="med"/>
                    </a:lnT>
                    <a:noFill/>
                  </a:tcPr>
                </a:tc>
                <a:tc>
                  <a:txBody>
                    <a:bodyPr/>
                    <a:lstStyle/>
                    <a:p>
                      <a:pPr algn="ctr"/>
                      <a:endParaRPr lang="en-US" sz="2000" dirty="0">
                        <a:solidFill>
                          <a:schemeClr val="tx1"/>
                        </a:solidFill>
                        <a:latin typeface="+mj-lt"/>
                      </a:endParaRPr>
                    </a:p>
                    <a:p>
                      <a:pPr algn="ctr"/>
                      <a:r>
                        <a:rPr lang="en-US" sz="2000" dirty="0">
                          <a:solidFill>
                            <a:schemeClr val="tx1"/>
                          </a:solidFill>
                          <a:latin typeface="+mj-lt"/>
                        </a:rPr>
                        <a:t>$73,000</a:t>
                      </a:r>
                    </a:p>
                    <a:p>
                      <a:pPr algn="ctr"/>
                      <a:r>
                        <a:rPr lang="en-US" sz="2000" dirty="0">
                          <a:solidFill>
                            <a:schemeClr val="tx1"/>
                          </a:solidFill>
                          <a:latin typeface="+mj-lt"/>
                        </a:rPr>
                        <a:t>or less</a:t>
                      </a:r>
                    </a:p>
                  </a:txBody>
                  <a:tcPr marL="74087" marR="74087" marT="37044" marB="37044" anchor="ctr">
                    <a:lnT w="9525" cap="flat" cmpd="sng" algn="ctr">
                      <a:solidFill>
                        <a:schemeClr val="tx1"/>
                      </a:solidFill>
                      <a:prstDash val="solid"/>
                      <a:round/>
                      <a:headEnd type="none" w="med" len="med"/>
                      <a:tailEnd type="none" w="med" len="med"/>
                    </a:lnT>
                    <a:solidFill>
                      <a:schemeClr val="bg2"/>
                    </a:solidFill>
                  </a:tcPr>
                </a:tc>
                <a:tc>
                  <a:txBody>
                    <a:bodyPr/>
                    <a:lstStyle/>
                    <a:p>
                      <a:pPr algn="ctr"/>
                      <a:endParaRPr lang="en-US" sz="2000" dirty="0">
                        <a:solidFill>
                          <a:schemeClr val="tx1"/>
                        </a:solidFill>
                        <a:latin typeface="+mj-lt"/>
                      </a:endParaRPr>
                    </a:p>
                    <a:p>
                      <a:pPr algn="ctr"/>
                      <a:r>
                        <a:rPr lang="en-US" sz="2000" dirty="0">
                          <a:solidFill>
                            <a:schemeClr val="tx1"/>
                          </a:solidFill>
                          <a:latin typeface="+mj-lt"/>
                        </a:rPr>
                        <a:t>Up to </a:t>
                      </a:r>
                    </a:p>
                    <a:p>
                      <a:pPr algn="ctr"/>
                      <a:r>
                        <a:rPr lang="en-US" sz="2000" dirty="0">
                          <a:solidFill>
                            <a:schemeClr val="tx1"/>
                          </a:solidFill>
                          <a:latin typeface="+mj-lt"/>
                        </a:rPr>
                        <a:t>$112,500</a:t>
                      </a:r>
                    </a:p>
                  </a:txBody>
                  <a:tcPr marL="74087" marR="74087" marT="37044" marB="37044" anchor="ctr">
                    <a:lnT w="9525" cap="flat" cmpd="sng" algn="ctr">
                      <a:solidFill>
                        <a:schemeClr val="tx1"/>
                      </a:solidFill>
                      <a:prstDash val="solid"/>
                      <a:round/>
                      <a:headEnd type="none" w="med" len="med"/>
                      <a:tailEnd type="none" w="med" len="med"/>
                    </a:lnT>
                    <a:solidFill>
                      <a:schemeClr val="bg2"/>
                    </a:solidFill>
                  </a:tcPr>
                </a:tc>
                <a:extLst>
                  <a:ext uri="{0D108BD9-81ED-4DB2-BD59-A6C34878D82A}">
                    <a16:rowId xmlns:a16="http://schemas.microsoft.com/office/drawing/2014/main" val="2568638344"/>
                  </a:ext>
                </a:extLst>
              </a:tr>
            </a:tbl>
          </a:graphicData>
        </a:graphic>
      </p:graphicFrame>
      <p:pic>
        <p:nvPicPr>
          <p:cNvPr id="6" name="Picture 5">
            <a:extLst>
              <a:ext uri="{FF2B5EF4-FFF2-40B4-BE49-F238E27FC236}">
                <a16:creationId xmlns:a16="http://schemas.microsoft.com/office/drawing/2014/main" id="{8371382A-50A3-4B6B-B715-C722C20B8274}"/>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5476" y="3333729"/>
            <a:ext cx="1008952" cy="1257458"/>
          </a:xfrm>
          <a:prstGeom prst="rect">
            <a:avLst/>
          </a:prstGeom>
        </p:spPr>
      </p:pic>
      <p:pic>
        <p:nvPicPr>
          <p:cNvPr id="7" name="Picture 6">
            <a:extLst>
              <a:ext uri="{FF2B5EF4-FFF2-40B4-BE49-F238E27FC236}">
                <a16:creationId xmlns:a16="http://schemas.microsoft.com/office/drawing/2014/main" id="{662A1C95-4D9E-4743-859D-6818FCCE7710}"/>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15447" y="4735233"/>
            <a:ext cx="2049010" cy="1222889"/>
          </a:xfrm>
          <a:prstGeom prst="rect">
            <a:avLst/>
          </a:prstGeom>
        </p:spPr>
      </p:pic>
      <p:sp>
        <p:nvSpPr>
          <p:cNvPr id="8" name="Content Placeholder 7">
            <a:extLst>
              <a:ext uri="{FF2B5EF4-FFF2-40B4-BE49-F238E27FC236}">
                <a16:creationId xmlns:a16="http://schemas.microsoft.com/office/drawing/2014/main" id="{9790B522-0363-4C91-A736-4239A504199E}"/>
              </a:ext>
            </a:extLst>
          </p:cNvPr>
          <p:cNvSpPr>
            <a:spLocks noGrp="1"/>
          </p:cNvSpPr>
          <p:nvPr>
            <p:ph sz="half" idx="2"/>
          </p:nvPr>
        </p:nvSpPr>
        <p:spPr>
          <a:xfrm>
            <a:off x="8620017" y="2772347"/>
            <a:ext cx="2936925" cy="1912067"/>
          </a:xfrm>
        </p:spPr>
        <p:txBody>
          <a:bodyPr>
            <a:noAutofit/>
          </a:bodyPr>
          <a:lstStyle/>
          <a:p>
            <a:pPr marL="0" indent="0">
              <a:buNone/>
            </a:pPr>
            <a:r>
              <a:rPr lang="en-US" sz="2000" dirty="0">
                <a:latin typeface="+mj-lt"/>
              </a:rPr>
              <a:t>Award amounts vary based on income, family size, and the school or program attended.</a:t>
            </a:r>
            <a:endParaRPr lang="en-US" sz="1600" dirty="0">
              <a:latin typeface="+mj-lt"/>
            </a:endParaRPr>
          </a:p>
        </p:txBody>
      </p:sp>
      <p:pic>
        <p:nvPicPr>
          <p:cNvPr id="13" name="Picture 12">
            <a:extLst>
              <a:ext uri="{FF2B5EF4-FFF2-40B4-BE49-F238E27FC236}">
                <a16:creationId xmlns:a16="http://schemas.microsoft.com/office/drawing/2014/main" id="{D291A8AD-E0A0-80AA-E001-90ABB35E5508}"/>
              </a:ext>
            </a:extLst>
          </p:cNvPr>
          <p:cNvPicPr>
            <a:picLocks noChangeAspect="1"/>
          </p:cNvPicPr>
          <p:nvPr/>
        </p:nvPicPr>
        <p:blipFill>
          <a:blip r:embed="rId5"/>
          <a:stretch>
            <a:fillRect/>
          </a:stretch>
        </p:blipFill>
        <p:spPr>
          <a:xfrm>
            <a:off x="8359694" y="4935758"/>
            <a:ext cx="3677163" cy="1667108"/>
          </a:xfrm>
          <a:prstGeom prst="rect">
            <a:avLst/>
          </a:prstGeom>
        </p:spPr>
      </p:pic>
    </p:spTree>
    <p:extLst>
      <p:ext uri="{BB962C8B-B14F-4D97-AF65-F5344CB8AC3E}">
        <p14:creationId xmlns:p14="http://schemas.microsoft.com/office/powerpoint/2010/main" val="29834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D77DF-BECA-4E23-BD6E-D8C9F72CDEB5}"/>
              </a:ext>
            </a:extLst>
          </p:cNvPr>
          <p:cNvSpPr>
            <a:spLocks noGrp="1"/>
          </p:cNvSpPr>
          <p:nvPr>
            <p:ph type="title"/>
          </p:nvPr>
        </p:nvSpPr>
        <p:spPr/>
        <p:txBody>
          <a:bodyPr>
            <a:normAutofit/>
          </a:bodyPr>
          <a:lstStyle/>
          <a:p>
            <a:r>
              <a:rPr lang="en-US" sz="4400"/>
              <a:t>Scholarships</a:t>
            </a:r>
            <a:endParaRPr lang="en-US" sz="3200"/>
          </a:p>
        </p:txBody>
      </p:sp>
      <p:sp>
        <p:nvSpPr>
          <p:cNvPr id="3" name="Content Placeholder 2">
            <a:extLst>
              <a:ext uri="{FF2B5EF4-FFF2-40B4-BE49-F238E27FC236}">
                <a16:creationId xmlns:a16="http://schemas.microsoft.com/office/drawing/2014/main" id="{BFD1B957-2E8E-4432-A7E5-0F7A0AB4C3B2}"/>
              </a:ext>
            </a:extLst>
          </p:cNvPr>
          <p:cNvSpPr>
            <a:spLocks noGrp="1"/>
          </p:cNvSpPr>
          <p:nvPr>
            <p:ph idx="1"/>
          </p:nvPr>
        </p:nvSpPr>
        <p:spPr>
          <a:xfrm>
            <a:off x="645459" y="1819835"/>
            <a:ext cx="11107270" cy="4489437"/>
          </a:xfrm>
        </p:spPr>
        <p:txBody>
          <a:bodyPr>
            <a:normAutofit/>
          </a:bodyPr>
          <a:lstStyle/>
          <a:p>
            <a:pPr marL="0" indent="0">
              <a:buNone/>
            </a:pPr>
            <a:r>
              <a:rPr lang="en-US" dirty="0">
                <a:latin typeface="+mj-lt"/>
              </a:rPr>
              <a:t>Scholarships are gifts that don’t have to be repaid and are designed to help students pay for college. They can be a one-time gift or renewable.  One of the largest scholarships in WA is the Washington State Opportunity Scholarship.</a:t>
            </a:r>
          </a:p>
          <a:p>
            <a:pPr marL="0" indent="0">
              <a:buNone/>
            </a:pPr>
            <a:r>
              <a:rPr lang="en-US" dirty="0">
                <a:latin typeface="+mj-lt"/>
              </a:rPr>
              <a:t>You can start your scholarship search by going to thewashboard.org</a:t>
            </a:r>
          </a:p>
        </p:txBody>
      </p:sp>
      <p:pic>
        <p:nvPicPr>
          <p:cNvPr id="2050" name="Picture 2" descr="The Washboard.org- Washington Scholarship Coalition — Everett Helplink">
            <a:extLst>
              <a:ext uri="{FF2B5EF4-FFF2-40B4-BE49-F238E27FC236}">
                <a16:creationId xmlns:a16="http://schemas.microsoft.com/office/drawing/2014/main" id="{B3EE4C62-463C-4409-B73A-D507F1CB8A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459" y="5384415"/>
            <a:ext cx="4339884" cy="115569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WSOS-FINAL-LOGO-main">
            <a:extLst>
              <a:ext uri="{FF2B5EF4-FFF2-40B4-BE49-F238E27FC236}">
                <a16:creationId xmlns:a16="http://schemas.microsoft.com/office/drawing/2014/main" id="{5D6E2B51-7118-8F31-D441-A8E7D34A72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89041" y="5701913"/>
            <a:ext cx="2857500" cy="838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723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a7sPQr0BDDBmIYtlUgMfg"/>
</p:tagLst>
</file>

<file path=ppt/theme/theme1.xml><?xml version="1.0" encoding="utf-8"?>
<a:theme xmlns:a="http://schemas.openxmlformats.org/drawingml/2006/main" name="Sales Direction 16X9">
  <a:themeElements>
    <a:clrScheme name="Custom 1">
      <a:dk1>
        <a:srgbClr val="3F3F3F"/>
      </a:dk1>
      <a:lt1>
        <a:sysClr val="window" lastClr="FFFFFF"/>
      </a:lt1>
      <a:dk2>
        <a:srgbClr val="7F7F7F"/>
      </a:dk2>
      <a:lt2>
        <a:srgbClr val="FFFFFF"/>
      </a:lt2>
      <a:accent1>
        <a:srgbClr val="C6892B"/>
      </a:accent1>
      <a:accent2>
        <a:srgbClr val="174479"/>
      </a:accent2>
      <a:accent3>
        <a:srgbClr val="346625"/>
      </a:accent3>
      <a:accent4>
        <a:srgbClr val="76787B"/>
      </a:accent4>
      <a:accent5>
        <a:srgbClr val="7A1C16"/>
      </a:accent5>
      <a:accent6>
        <a:srgbClr val="60B9CD"/>
      </a:accent6>
      <a:hlink>
        <a:srgbClr val="12446A"/>
      </a:hlink>
      <a:folHlink>
        <a:srgbClr val="4B1211"/>
      </a:folHlink>
    </a:clrScheme>
    <a:fontScheme name="Tw Cen MT-Rockwell">
      <a:majorFont>
        <a:latin typeface="Tw Cen MT" panose="020B0602020104020603"/>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Rockwell" panose="02060603020205020403"/>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lesDirection_16x9.potx" id="{FE35DD5A-B687-4161-B4D9-35484B75A379}" vid="{5DB76398-B2EF-4269-B3B2-C0E4C29F3554}"/>
    </a:ext>
  </a:extLst>
</a:theme>
</file>

<file path=ppt/theme/theme2.xml><?xml version="1.0" encoding="utf-8"?>
<a:theme xmlns:a="http://schemas.openxmlformats.org/drawingml/2006/main" name="Office Theme">
  <a:themeElements>
    <a:clrScheme name="Swift Student">
      <a:dk1>
        <a:srgbClr val="0070A9"/>
      </a:dk1>
      <a:lt1>
        <a:srgbClr val="FFFFFF"/>
      </a:lt1>
      <a:dk2>
        <a:srgbClr val="0070A9"/>
      </a:dk2>
      <a:lt2>
        <a:srgbClr val="DFF7FF"/>
      </a:lt2>
      <a:accent1>
        <a:srgbClr val="53C3EA"/>
      </a:accent1>
      <a:accent2>
        <a:srgbClr val="FFDE73"/>
      </a:accent2>
      <a:accent3>
        <a:srgbClr val="95ED95"/>
      </a:accent3>
      <a:accent4>
        <a:srgbClr val="53C3EA"/>
      </a:accent4>
      <a:accent5>
        <a:srgbClr val="53C3EA"/>
      </a:accent5>
      <a:accent6>
        <a:srgbClr val="53C3EA"/>
      </a:accent6>
      <a:hlink>
        <a:srgbClr val="349934"/>
      </a:hlink>
      <a:folHlink>
        <a:srgbClr val="5EBB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wift-Student-Template" id="{398D9A92-A49B-CC45-876D-3F60039FAF67}" vid="{7A8E1969-63CA-EA4B-BECF-5EC59ABC203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F3DD55CFCF0CD4AB964262FA2029D18" ma:contentTypeVersion="27" ma:contentTypeDescription="Create a new document." ma:contentTypeScope="" ma:versionID="d3ca2ad3b73ad6fd81e48f64f42d9d92">
  <xsd:schema xmlns:xsd="http://www.w3.org/2001/XMLSchema" xmlns:xs="http://www.w3.org/2001/XMLSchema" xmlns:p="http://schemas.microsoft.com/office/2006/metadata/properties" xmlns:ns1="http://schemas.microsoft.com/sharepoint/v3" xmlns:ns2="894dbb2b-35e3-4e40-b282-4baa343bc3bc" xmlns:ns3="2a0342cf-57d7-47d6-b188-dab1e1632426" targetNamespace="http://schemas.microsoft.com/office/2006/metadata/properties" ma:root="true" ma:fieldsID="c64d63696765491e7ab4bb37a6ae246e" ns1:_="" ns2:_="" ns3:_="">
    <xsd:import namespace="http://schemas.microsoft.com/sharepoint/v3"/>
    <xsd:import namespace="894dbb2b-35e3-4e40-b282-4baa343bc3bc"/>
    <xsd:import namespace="2a0342cf-57d7-47d6-b188-dab1e1632426"/>
    <xsd:element name="properties">
      <xsd:complexType>
        <xsd:sequence>
          <xsd:element name="documentManagement">
            <xsd:complexType>
              <xsd:all>
                <xsd:element ref="ns2:Program" minOccurs="0"/>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ServiceAutoTags" minOccurs="0"/>
                <xsd:element ref="ns2:MediaServiceOCR" minOccurs="0"/>
                <xsd:element ref="ns2:MediaServiceGenerationTime" minOccurs="0"/>
                <xsd:element ref="ns2:MediaServiceEventHashCode" minOccurs="0"/>
                <xsd:element ref="ns2:Audience"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ma:readOnly="false">
      <xsd:simpleType>
        <xsd:restriction base="dms:Note"/>
      </xsd:simpleType>
    </xsd:element>
    <xsd:element name="_ip_UnifiedCompliancePolicyUIAction" ma:index="1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4dbb2b-35e3-4e40-b282-4baa343bc3bc" elementFormDefault="qualified">
    <xsd:import namespace="http://schemas.microsoft.com/office/2006/documentManagement/types"/>
    <xsd:import namespace="http://schemas.microsoft.com/office/infopath/2007/PartnerControls"/>
    <xsd:element name="Program" ma:index="1" nillable="true" ma:displayName="Program" ma:format="Dropdown" ma:internalName="Program">
      <xsd:complexType>
        <xsd:complexContent>
          <xsd:extension base="dms:MultiChoice">
            <xsd:sequence>
              <xsd:element name="Value" maxOccurs="unbounded" minOccurs="0" nillable="true">
                <xsd:simpleType>
                  <xsd:restriction base="dms:Choice">
                    <xsd:enumeration value="12th Year"/>
                    <xsd:enumeration value="Accounting"/>
                    <xsd:enumeration value="Admissions"/>
                    <xsd:enumeration value="Aerospace"/>
                    <xsd:enumeration value="Agency - General"/>
                    <xsd:enumeration value="AIES"/>
                    <xsd:enumeration value="Apprenticeships"/>
                    <xsd:enumeration value="Budget"/>
                    <xsd:enumeration value="CBS"/>
                    <xsd:enumeration value="Closures"/>
                    <xsd:enumeration value="College Readiness"/>
                    <xsd:enumeration value="Comm - Analytics"/>
                    <xsd:enumeration value="Comm - Billing &amp; Subscriptions"/>
                    <xsd:enumeration value="Comm - Branding"/>
                    <xsd:enumeration value="Comm - Contracts &amp; Field Orders"/>
                    <xsd:enumeration value="Comm - CTM"/>
                    <xsd:enumeration value="Comm - Forms"/>
                    <xsd:enumeration value="Comm - GovDelivery"/>
                    <xsd:enumeration value="Comm - Graphics"/>
                    <xsd:enumeration value="Comm - In the Know"/>
                    <xsd:enumeration value="Comm - Marketing &amp; Outreach"/>
                    <xsd:enumeration value="Comm - News Media"/>
                    <xsd:enumeration value="Comm - Partnerships"/>
                    <xsd:enumeration value="Comm - Personnel"/>
                    <xsd:enumeration value="Comm - Planning"/>
                    <xsd:enumeration value="Comm - Processes &amp; Protocols"/>
                    <xsd:enumeration value="Comm - Product Development Guide"/>
                    <xsd:enumeration value="Comm - Professional Development"/>
                    <xsd:enumeration value="Comm - Reports &amp; Briefs"/>
                    <xsd:enumeration value="Comm - Resources"/>
                    <xsd:enumeration value="Comm - Social Media"/>
                    <xsd:enumeration value="Comm - Surveys"/>
                    <xsd:enumeration value="Comm - Talking Points"/>
                    <xsd:enumeration value="Comm - Templates"/>
                    <xsd:enumeration value="Comm - Tools"/>
                    <xsd:enumeration value="Comm - Websites"/>
                    <xsd:enumeration value="Compass"/>
                    <xsd:enumeration value="Competitive Grants"/>
                    <xsd:enumeration value="Complaints"/>
                    <xsd:enumeration value="Council"/>
                    <xsd:enumeration value="Degree Authorization"/>
                    <xsd:enumeration value="Dual Credit"/>
                    <xsd:enumeration value="Enrollment"/>
                    <xsd:enumeration value="Equity"/>
                    <xsd:enumeration value="External"/>
                    <xsd:enumeration value="Executive Office"/>
                    <xsd:enumeration value="FAFSA &amp; WASFA"/>
                    <xsd:enumeration value="GEAR UP"/>
                    <xsd:enumeration value="Health"/>
                    <xsd:enumeration value="Human Resources"/>
                    <xsd:enumeration value="IT"/>
                    <xsd:enumeration value="Legislative"/>
                    <xsd:enumeration value="National Guard"/>
                    <xsd:enumeration value="Otterbot"/>
                    <xsd:enumeration value="Passport"/>
                    <xsd:enumeration value="Policies and Protocols"/>
                    <xsd:enumeration value="Policy"/>
                    <xsd:enumeration value="Prior Learning"/>
                    <xsd:enumeration value="Regional Challenge Grants"/>
                    <xsd:enumeration value="Research"/>
                    <xsd:enumeration value="Residency"/>
                    <xsd:enumeration value="Roadmap &amp; SAP"/>
                    <xsd:enumeration value="SFA"/>
                    <xsd:enumeration value="Student Loan"/>
                    <xsd:enumeration value="Student Supports"/>
                    <xsd:enumeration value="SWS"/>
                    <xsd:enumeration value="Teachers"/>
                    <xsd:enumeration value="Transfers"/>
                    <xsd:enumeration value="Tuition"/>
                    <xsd:enumeration value="Veterans"/>
                    <xsd:enumeration value="WA529"/>
                    <xsd:enumeration value="Washboard"/>
                    <xsd:enumeration value="WCG"/>
                    <xsd:enumeration value="Workforce"/>
                    <xsd:enumeration value="Choice 75"/>
                  </xsd:restriction>
                </xsd:simpleType>
              </xsd:element>
            </xsd:sequence>
          </xsd:extension>
        </xsd:complexContent>
      </xsd:complexType>
    </xsd:element>
    <xsd:element name="MediaServiceMetadata" ma:index="7" nillable="true" ma:displayName="MediaServiceMetadata" ma:hidden="true" ma:internalName="MediaServiceMetadata" ma:readOnly="true">
      <xsd:simpleType>
        <xsd:restriction base="dms:Note"/>
      </xsd:simpleType>
    </xsd:element>
    <xsd:element name="MediaServiceFastMetadata" ma:index="8" nillable="true" ma:displayName="MediaServiceFastMetadata" ma:hidden="true" ma:internalName="MediaServiceFastMetadata" ma:readOnly="true">
      <xsd:simpleType>
        <xsd:restriction base="dms:Note"/>
      </xsd:simpleType>
    </xsd:element>
    <xsd:element name="MediaServiceAutoTags" ma:index="13" nillable="true" ma:displayName="Tags" ma:hidden="true" ma:internalName="MediaServiceAutoTags" ma:readOnly="true">
      <xsd:simpleType>
        <xsd:restriction base="dms:Text"/>
      </xsd:simpleType>
    </xsd:element>
    <xsd:element name="MediaServiceOCR" ma:index="14" nillable="true" ma:displayName="Extracted Text" ma:hidden="true" ma:internalName="MediaServiceOCR" ma:readOnly="true">
      <xsd:simpleType>
        <xsd:restriction base="dms:Note"/>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Audience" ma:index="19" nillable="true" ma:displayName="Audience" ma:format="Dropdown" ma:hidden="true" ma:internalName="Audience" ma:readOnly="false">
      <xsd:complexType>
        <xsd:complexContent>
          <xsd:extension base="dms:MultiChoice">
            <xsd:sequence>
              <xsd:element name="Value" maxOccurs="unbounded" minOccurs="0" nillable="true">
                <xsd:simpleType>
                  <xsd:restriction base="dms:Choice">
                    <xsd:enumeration value="K-12 Students-Families"/>
                    <xsd:enumeration value="K-12 Educators"/>
                    <xsd:enumeration value="K-12 Leaders"/>
                    <xsd:enumeration value="PS Students-Families"/>
                    <xsd:enumeration value="PS Admin"/>
                    <xsd:enumeration value="PS Leaders"/>
                    <xsd:enumeration value="Council members"/>
                    <xsd:enumeration value="Elected Officials"/>
                    <xsd:enumeration value="CBOs"/>
                    <xsd:enumeration value="Internal"/>
                  </xsd:restriction>
                </xsd:simpleType>
              </xsd:element>
            </xsd:sequence>
          </xsd:extension>
        </xsd:complexContent>
      </xsd:complex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60a6a1c-50a4-4ec0-87e3-f00760ffe76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0342cf-57d7-47d6-b188-dab1e1632426" elementFormDefault="qualified">
    <xsd:import namespace="http://schemas.microsoft.com/office/2006/documentManagement/types"/>
    <xsd:import namespace="http://schemas.microsoft.com/office/infopath/2007/PartnerControls"/>
    <xsd:element name="SharedWithUsers" ma:index="9"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hidden="true" ma:internalName="SharedWithDetails" ma:readOnly="true">
      <xsd:simpleType>
        <xsd:restriction base="dms:Note"/>
      </xsd:simpleType>
    </xsd:element>
    <xsd:element name="TaxCatchAll" ma:index="25" nillable="true" ma:displayName="Taxonomy Catch All Column" ma:hidden="true" ma:list="{3710e048-4136-4f9f-8c26-6297aa3b2efa}" ma:internalName="TaxCatchAll" ma:showField="CatchAllData" ma:web="2a0342cf-57d7-47d6-b188-dab1e163242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a0342cf-57d7-47d6-b188-dab1e1632426" xsi:nil="true"/>
    <lcf76f155ced4ddcb4097134ff3c332f xmlns="894dbb2b-35e3-4e40-b282-4baa343bc3bc">
      <Terms xmlns="http://schemas.microsoft.com/office/infopath/2007/PartnerControls"/>
    </lcf76f155ced4ddcb4097134ff3c332f>
    <SharedWithUsers xmlns="2a0342cf-57d7-47d6-b188-dab1e1632426">
      <UserInfo>
        <DisplayName>Pham, Kathie (WSAC)</DisplayName>
        <AccountId>33</AccountId>
        <AccountType/>
      </UserInfo>
    </SharedWithUsers>
    <Audience xmlns="894dbb2b-35e3-4e40-b282-4baa343bc3bc" xsi:nil="true"/>
    <Program xmlns="894dbb2b-35e3-4e40-b282-4baa343bc3b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3BDB158-93C0-4951-81B8-C84DD1471F9A}"/>
</file>

<file path=customXml/itemProps2.xml><?xml version="1.0" encoding="utf-8"?>
<ds:datastoreItem xmlns:ds="http://schemas.openxmlformats.org/officeDocument/2006/customXml" ds:itemID="{36A8F96A-9E57-4E91-9F45-92896D225B52}">
  <ds:schemaRefs>
    <ds:schemaRef ds:uri="http://schemas.microsoft.com/office/2006/metadata/properties"/>
    <ds:schemaRef ds:uri="http://schemas.microsoft.com/office/infopath/2007/PartnerControls"/>
    <ds:schemaRef ds:uri="00c171b1-1f85-462d-9d77-e7cf50056042"/>
    <ds:schemaRef ds:uri="http://schemas.microsoft.com/sharepoint/v3"/>
    <ds:schemaRef ds:uri="82ea2e54-d88c-4c72-a54d-c5b9648f3098"/>
  </ds:schemaRefs>
</ds:datastoreItem>
</file>

<file path=customXml/itemProps3.xml><?xml version="1.0" encoding="utf-8"?>
<ds:datastoreItem xmlns:ds="http://schemas.openxmlformats.org/officeDocument/2006/customXml" ds:itemID="{219ADA66-7164-4364-B929-8DF4C921551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003</TotalTime>
  <Words>3959</Words>
  <Application>Microsoft Office PowerPoint</Application>
  <PresentationFormat>Widescreen</PresentationFormat>
  <Paragraphs>326</Paragraphs>
  <Slides>36</Slides>
  <Notes>36</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9" baseType="lpstr">
      <vt:lpstr>Arial</vt:lpstr>
      <vt:lpstr>Book Antiqua</vt:lpstr>
      <vt:lpstr>Calibri</vt:lpstr>
      <vt:lpstr>Calibri Light</vt:lpstr>
      <vt:lpstr>Cambria</vt:lpstr>
      <vt:lpstr>Century Gothic</vt:lpstr>
      <vt:lpstr>Rockwell</vt:lpstr>
      <vt:lpstr>Tw Cen MT</vt:lpstr>
      <vt:lpstr>Tw Cen MT Condensed</vt:lpstr>
      <vt:lpstr>Tw Cen MT Condensed Extra Bold</vt:lpstr>
      <vt:lpstr>Sales Direction 16X9</vt:lpstr>
      <vt:lpstr>Office Theme</vt:lpstr>
      <vt:lpstr>think-cell Slide</vt:lpstr>
      <vt:lpstr>Introduction to Financial Aid  </vt:lpstr>
      <vt:lpstr>About the Washington Student Achievement Council</vt:lpstr>
      <vt:lpstr>What Will I Learn Today?</vt:lpstr>
      <vt:lpstr>What is Financial Aid?</vt:lpstr>
      <vt:lpstr> Financial Aid Is An Umbrella </vt:lpstr>
      <vt:lpstr>Grants</vt:lpstr>
      <vt:lpstr>Washington College Grant (WA Grant)</vt:lpstr>
      <vt:lpstr>Washington College Grant Provides a Unique Opportunity</vt:lpstr>
      <vt:lpstr>Scholarships</vt:lpstr>
      <vt:lpstr>Work-Study</vt:lpstr>
      <vt:lpstr>Loans</vt:lpstr>
      <vt:lpstr>Sources of Financial Aid </vt:lpstr>
      <vt:lpstr>Examples of Federal Financial Aid Programs</vt:lpstr>
      <vt:lpstr>Examples of State Financial Aid</vt:lpstr>
      <vt:lpstr>College Bound Scholarship Eligibility and Auto-Enrollment: A Two-Step Process </vt:lpstr>
      <vt:lpstr>College Bound Scholarship Commitment </vt:lpstr>
      <vt:lpstr>State Financial Aid Calculator</vt:lpstr>
      <vt:lpstr>FAFSA/WASFA: Rule of One</vt:lpstr>
      <vt:lpstr>Free Application for Federal Student Aid (FAFSA)</vt:lpstr>
      <vt:lpstr>Two Ways to Apply for the FAFSA</vt:lpstr>
      <vt:lpstr>FAFSA Website Language Options</vt:lpstr>
      <vt:lpstr>FSA ID – The First Step to the FAFSA </vt:lpstr>
      <vt:lpstr>Washington Application for State Financial Aid (WASFA)</vt:lpstr>
      <vt:lpstr>WASFA Account Creation – The First Step to the WASFA </vt:lpstr>
      <vt:lpstr>Is a Student Dependent or Independent* </vt:lpstr>
      <vt:lpstr>What Do I Need to Apply for Financial Aid</vt:lpstr>
      <vt:lpstr>CSS Profile</vt:lpstr>
      <vt:lpstr>Financial Aid Timeline</vt:lpstr>
      <vt:lpstr>PowerPoint Presentation</vt:lpstr>
      <vt:lpstr>Class of 2024 Next Steps</vt:lpstr>
      <vt:lpstr>Resource: www.wsac.wa.gov/actionplan </vt:lpstr>
      <vt:lpstr>Resource: 12th Year Campaign Resources and Events</vt:lpstr>
      <vt:lpstr>Resource: Financial Aid Padlet For Students</vt:lpstr>
      <vt:lpstr>Washington Financial Aid for Education and Training Videos</vt:lpstr>
      <vt:lpstr>We Are Here to Help!</vt:lpstr>
      <vt:lpstr>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 101 20 Minute</dc:title>
  <dc:creator>Christina Winstead</dc:creator>
  <cp:lastModifiedBy>Winstead, Christina (WSAC)</cp:lastModifiedBy>
  <cp:revision>102</cp:revision>
  <dcterms:created xsi:type="dcterms:W3CDTF">2020-05-04T16:54:55Z</dcterms:created>
  <dcterms:modified xsi:type="dcterms:W3CDTF">2023-08-29T18:2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F64904522D3C47B4C5D78BD93A5B69</vt:lpwstr>
  </property>
  <property fmtid="{D5CDD505-2E9C-101B-9397-08002B2CF9AE}" pid="3" name="Order">
    <vt:r8>417900</vt:r8>
  </property>
  <property fmtid="{D5CDD505-2E9C-101B-9397-08002B2CF9AE}" pid="4" name="MediaServiceImageTags">
    <vt:lpwstr/>
  </property>
</Properties>
</file>